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2" r:id="rId3"/>
    <p:sldId id="263" r:id="rId4"/>
    <p:sldId id="258" r:id="rId5"/>
    <p:sldId id="268" r:id="rId6"/>
    <p:sldId id="267" r:id="rId7"/>
    <p:sldId id="260" r:id="rId8"/>
    <p:sldId id="266" r:id="rId9"/>
    <p:sldId id="265" r:id="rId10"/>
    <p:sldId id="269" r:id="rId11"/>
    <p:sldId id="264" r:id="rId12"/>
  </p:sldIdLst>
  <p:sldSz cx="13442950" cy="7561263"/>
  <p:notesSz cx="7099300" cy="10234613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42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FCFFF"/>
    <a:srgbClr val="0052A4"/>
    <a:srgbClr val="003B76"/>
    <a:srgbClr val="96944A"/>
    <a:srgbClr val="000080"/>
    <a:srgbClr val="666666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1" autoAdjust="0"/>
    <p:restoredTop sz="96072" autoAdjust="0"/>
  </p:normalViewPr>
  <p:slideViewPr>
    <p:cSldViewPr>
      <p:cViewPr varScale="1">
        <p:scale>
          <a:sx n="134" d="100"/>
          <a:sy n="134" d="100"/>
        </p:scale>
        <p:origin x="124" y="480"/>
      </p:cViewPr>
      <p:guideLst>
        <p:guide orient="horz" pos="2382"/>
        <p:guide pos="4234"/>
      </p:guideLst>
    </p:cSldViewPr>
  </p:slideViewPr>
  <p:outlineViewPr>
    <p:cViewPr>
      <p:scale>
        <a:sx n="33" d="100"/>
        <a:sy n="33" d="100"/>
      </p:scale>
      <p:origin x="0" y="64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03175154-8E73-4279-B4EC-D387EF34221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6F529660-F951-44B8-A707-03406A0EFC4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>
            <a:extLst>
              <a:ext uri="{FF2B5EF4-FFF2-40B4-BE49-F238E27FC236}">
                <a16:creationId xmlns:a16="http://schemas.microsoft.com/office/drawing/2014/main" id="{3F255F23-4A4C-45B4-9EA4-19E9F02D8B62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3" name="Rectangle 5">
            <a:extLst>
              <a:ext uri="{FF2B5EF4-FFF2-40B4-BE49-F238E27FC236}">
                <a16:creationId xmlns:a16="http://schemas.microsoft.com/office/drawing/2014/main" id="{26EAA0ED-D9EF-4E29-B9C2-1C2B87E73E1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panose="020B0604020202020204" pitchFamily="34" charset="0"/>
              </a:defRPr>
            </a:lvl1pPr>
          </a:lstStyle>
          <a:p>
            <a:fld id="{6F960954-DB8A-46FA-ABF3-DED80760F3E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>
            <a:extLst>
              <a:ext uri="{FF2B5EF4-FFF2-40B4-BE49-F238E27FC236}">
                <a16:creationId xmlns:a16="http://schemas.microsoft.com/office/drawing/2014/main" id="{B8F1BD6D-D80A-4BBA-B3C3-F9FF0285682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DD1C8D4E-623E-4F15-84AC-DBBF86D3D63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9F9E12CA-5E03-4947-AE23-1B91F9364BD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7" name="Rectangle 5">
            <a:extLst>
              <a:ext uri="{FF2B5EF4-FFF2-40B4-BE49-F238E27FC236}">
                <a16:creationId xmlns:a16="http://schemas.microsoft.com/office/drawing/2014/main" id="{06033D16-1577-45C5-9B67-8915495D71A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1078" name="Rectangle 6">
            <a:extLst>
              <a:ext uri="{FF2B5EF4-FFF2-40B4-BE49-F238E27FC236}">
                <a16:creationId xmlns:a16="http://schemas.microsoft.com/office/drawing/2014/main" id="{356C2148-3141-4765-B753-C1EDF6FAEDB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9" name="Rectangle 7">
            <a:extLst>
              <a:ext uri="{FF2B5EF4-FFF2-40B4-BE49-F238E27FC236}">
                <a16:creationId xmlns:a16="http://schemas.microsoft.com/office/drawing/2014/main" id="{446153FB-6311-469B-B8A8-BD3F37B0C7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panose="020B0604020202020204" pitchFamily="34" charset="0"/>
              </a:defRPr>
            </a:lvl1pPr>
          </a:lstStyle>
          <a:p>
            <a:fld id="{A44DEEA3-5677-44F9-9E46-2EFAB5614662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3565FE73-102A-4AB0-ACCA-AC85202DA0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B0C3439-F5CB-47F0-98C2-4C239A086142}" type="slidenum">
              <a:rPr lang="de-DE" altLang="de-DE" sz="1200" baseline="0">
                <a:latin typeface="Arial" panose="020B0604020202020204" pitchFamily="34" charset="0"/>
              </a:rPr>
              <a:pPr/>
              <a:t>1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4DE548CF-25D2-488D-A7B5-1E16AC8AB9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D259E5A9-01EA-4523-8FF1-B252C1403B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>
            <a:extLst>
              <a:ext uri="{FF2B5EF4-FFF2-40B4-BE49-F238E27FC236}">
                <a16:creationId xmlns:a16="http://schemas.microsoft.com/office/drawing/2014/main" id="{0F656777-4F5A-4441-995E-ABDAEE5634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Notizenplatzhalter 2">
            <a:extLst>
              <a:ext uri="{FF2B5EF4-FFF2-40B4-BE49-F238E27FC236}">
                <a16:creationId xmlns:a16="http://schemas.microsoft.com/office/drawing/2014/main" id="{B56771A4-71B8-4FB6-BFD8-3B83C91A576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Arial" panose="020B0604020202020204" pitchFamily="34" charset="0"/>
              </a:rPr>
              <a:t>[{'x': 540, 'y': 336, 'width': 115, 'height': 105}, {'x': 659, 'y': 534, 'width': 98, 'height': 67}]“</a:t>
            </a:r>
          </a:p>
          <a:p>
            <a:endParaRPr lang="de-DE" altLang="en-US">
              <a:latin typeface="Arial" panose="020B0604020202020204" pitchFamily="34" charset="0"/>
            </a:endParaRPr>
          </a:p>
          <a:p>
            <a:r>
              <a:rPr lang="de-DE" altLang="en-US">
                <a:latin typeface="Arial" panose="020B0604020202020204" pitchFamily="34" charset="0"/>
              </a:rPr>
              <a:t>W</a:t>
            </a:r>
            <a:r>
              <a:rPr lang="en-US" altLang="en-US">
                <a:latin typeface="Arial" panose="020B0604020202020204" pitchFamily="34" charset="0"/>
              </a:rPr>
              <a:t>HY RELATIVE TO BOUNDING BOX?</a:t>
            </a:r>
          </a:p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0244" name="Foliennummernplatzhalter 3">
            <a:extLst>
              <a:ext uri="{FF2B5EF4-FFF2-40B4-BE49-F238E27FC236}">
                <a16:creationId xmlns:a16="http://schemas.microsoft.com/office/drawing/2014/main" id="{7B28A732-4A6B-426C-B7FA-3FB368AC4E0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E002F84-EB52-4DC5-9F46-EBE146B0A252}" type="slidenum">
              <a:rPr lang="de-DE" altLang="de-DE" sz="1200" baseline="0">
                <a:latin typeface="Arial" panose="020B0604020202020204" pitchFamily="34" charset="0"/>
              </a:rPr>
              <a:pPr/>
              <a:t>4</a:t>
            </a:fld>
            <a:endParaRPr lang="de-DE" altLang="de-DE" sz="1200" baseline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>
            <a:extLst>
              <a:ext uri="{FF2B5EF4-FFF2-40B4-BE49-F238E27FC236}">
                <a16:creationId xmlns:a16="http://schemas.microsoft.com/office/drawing/2014/main" id="{49D903FE-C91D-4FC8-A41B-0E903511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024D47D1-8304-47AA-9D7B-E72D6B204F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6" name="Grafik 11">
            <a:extLst>
              <a:ext uri="{FF2B5EF4-FFF2-40B4-BE49-F238E27FC236}">
                <a16:creationId xmlns:a16="http://schemas.microsoft.com/office/drawing/2014/main" id="{F830D359-7114-4A57-A130-D9FCE38EE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1203" y="2271714"/>
            <a:ext cx="11427566" cy="1665287"/>
          </a:xfrm>
        </p:spPr>
        <p:txBody>
          <a:bodyPr lIns="100778" tIns="50390" rIns="100778" bIns="50390" anchor="ctr" anchorCtr="1"/>
          <a:lstStyle>
            <a:lvl1pPr algn="ctr">
              <a:defRPr sz="36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42970" y="4113213"/>
            <a:ext cx="5186650" cy="486485"/>
          </a:xfrm>
        </p:spPr>
        <p:txBody>
          <a:bodyPr>
            <a:spAutoFit/>
          </a:bodyPr>
          <a:lstStyle>
            <a:lvl1pPr algn="ctr">
              <a:defRPr sz="2500">
                <a:solidFill>
                  <a:srgbClr val="000080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298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8675A37-97D0-449D-8FBD-95C2B532570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697825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979538" y="972319"/>
            <a:ext cx="3167032" cy="596505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78442" y="756295"/>
            <a:ext cx="9297864" cy="6181080"/>
          </a:xfrm>
        </p:spPr>
        <p:txBody>
          <a:bodyPr vert="eaVert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2D7D569-E0FB-4A0A-9B0D-B64758986A8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295022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C7D023F-31FF-4A8D-AC6C-0AA247B6CB4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3019310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2734" y="4859339"/>
            <a:ext cx="11425450" cy="15017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62734" y="3205164"/>
            <a:ext cx="11425450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572C952-2ACE-41C5-A8B5-710BD6233B8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54630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80560" y="755651"/>
            <a:ext cx="6230330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14122" y="755651"/>
            <a:ext cx="6232448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A8A00C5-2969-44C9-AE14-F273F29890A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4005344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798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798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78442" y="115889"/>
            <a:ext cx="11044390" cy="4794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1"/>
          </p:nvPr>
        </p:nvSpPr>
        <p:spPr>
          <a:xfrm>
            <a:off x="6817500" y="885081"/>
            <a:ext cx="6241676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2"/>
          </p:nvPr>
        </p:nvSpPr>
        <p:spPr>
          <a:xfrm>
            <a:off x="6817500" y="1605161"/>
            <a:ext cx="6241676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743AEA70-311F-4D2A-BA1E-C5EF23A37516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800952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52956222-6819-4B5D-95C3-B9692790DF8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570320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9ADC7089-1924-4725-9F38-6674400F9D5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136595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3206" y="763950"/>
            <a:ext cx="4422414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56512" y="756295"/>
            <a:ext cx="7515350" cy="6192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3206" y="2045063"/>
            <a:ext cx="4422414" cy="490392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744FE21-14F1-438A-8CCA-FE393D7FFEE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2318767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5666" y="5292726"/>
            <a:ext cx="806577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635666" y="676275"/>
            <a:ext cx="8065770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35666" y="5918201"/>
            <a:ext cx="8065770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B4AAE90-D3BB-4CE4-AE7D-2EF0725CC89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</p:spTree>
    <p:extLst>
      <p:ext uri="{BB962C8B-B14F-4D97-AF65-F5344CB8AC3E}">
        <p14:creationId xmlns:p14="http://schemas.microsoft.com/office/powerpoint/2010/main" val="182085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>
            <a:extLst>
              <a:ext uri="{FF2B5EF4-FFF2-40B4-BE49-F238E27FC236}">
                <a16:creationId xmlns:a16="http://schemas.microsoft.com/office/drawing/2014/main" id="{11DFD688-469D-44B3-8E28-82074DCC452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81013" y="755650"/>
            <a:ext cx="12665075" cy="618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Hier klicken, um …</a:t>
            </a:r>
          </a:p>
          <a:p>
            <a:pPr lvl="1"/>
            <a:r>
              <a:rPr lang="de-DE" altLang="de-DE"/>
              <a:t>Ers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AB16E736-18B1-4DF8-A4D2-4981932FBE6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5888"/>
            <a:ext cx="1104423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800" tIns="0" rIns="1008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de-DE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BF841D04-6841-475D-983A-C8E12A5E4F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3200" y="7296150"/>
            <a:ext cx="2709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100" b="1" baseline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1029" name="Rectangle 20">
            <a:extLst>
              <a:ext uri="{FF2B5EF4-FFF2-40B4-BE49-F238E27FC236}">
                <a16:creationId xmlns:a16="http://schemas.microsoft.com/office/drawing/2014/main" id="{991A0496-366C-4E4A-B6DC-FD899B77D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3525" y="7294563"/>
            <a:ext cx="288925" cy="1682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/>
            <a:fld id="{22EA955F-E221-442F-9D30-E0BDEE22792F}" type="slidenum">
              <a:rPr lang="en-US" altLang="de-DE" sz="1100" b="1" baseline="0">
                <a:latin typeface="Arial" panose="020B0604020202020204" pitchFamily="34" charset="0"/>
              </a:rPr>
              <a:pPr algn="r"/>
              <a:t>‹Nr.›</a:t>
            </a:fld>
            <a:endParaRPr lang="en-US" altLang="de-DE" sz="1100" b="1" baseline="0">
              <a:latin typeface="Arial" panose="020B0604020202020204" pitchFamily="34" charset="0"/>
            </a:endParaRPr>
          </a:p>
        </p:txBody>
      </p:sp>
      <p:sp>
        <p:nvSpPr>
          <p:cNvPr id="1030" name="Rectangle 31">
            <a:extLst>
              <a:ext uri="{FF2B5EF4-FFF2-40B4-BE49-F238E27FC236}">
                <a16:creationId xmlns:a16="http://schemas.microsoft.com/office/drawing/2014/main" id="{96E8020D-CEE2-408F-B99F-AE2E2E233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10798175" cy="36512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sp>
        <p:nvSpPr>
          <p:cNvPr id="1031" name="Rectangle 34">
            <a:extLst>
              <a:ext uri="{FF2B5EF4-FFF2-40B4-BE49-F238E27FC236}">
                <a16:creationId xmlns:a16="http://schemas.microsoft.com/office/drawing/2014/main" id="{788A673F-CF29-4F62-8F13-23C4A32B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3438188" cy="36513"/>
          </a:xfrm>
          <a:prstGeom prst="rect">
            <a:avLst/>
          </a:prstGeom>
          <a:solidFill>
            <a:srgbClr val="000080"/>
          </a:solidFill>
          <a:ln>
            <a:noFill/>
          </a:ln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de-DE" altLang="de-DE"/>
          </a:p>
        </p:txBody>
      </p:sp>
      <p:pic>
        <p:nvPicPr>
          <p:cNvPr id="1032" name="Grafik 9">
            <a:extLst>
              <a:ext uri="{FF2B5EF4-FFF2-40B4-BE49-F238E27FC236}">
                <a16:creationId xmlns:a16="http://schemas.microsoft.com/office/drawing/2014/main" id="{455B245F-C133-4A5D-A77A-C0F7AD08C09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425" y="80963"/>
            <a:ext cx="1709738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sldNum="0" hdr="0" dt="0"/>
  <p:txStyles>
    <p:titleStyle>
      <a:lvl1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+mj-lt"/>
          <a:ea typeface="+mj-ea"/>
          <a:cs typeface="+mj-cs"/>
        </a:defRPr>
      </a:lvl1pPr>
      <a:lvl2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2pPr>
      <a:lvl3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3pPr>
      <a:lvl4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4pPr>
      <a:lvl5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5pPr>
      <a:lvl6pPr marL="4572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6pPr>
      <a:lvl7pPr marL="9144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7pPr>
      <a:lvl8pPr marL="13716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8pPr>
      <a:lvl9pPr marL="18288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9pPr>
    </p:titleStyle>
    <p:bodyStyle>
      <a:lvl1pPr marL="342900" indent="-342900" algn="l" defTabSz="10080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2682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n"/>
        <a:defRPr sz="2100">
          <a:solidFill>
            <a:schemeClr val="tx1"/>
          </a:solidFill>
          <a:latin typeface="+mn-lt"/>
        </a:defRPr>
      </a:lvl2pPr>
      <a:lvl3pPr marL="892175" indent="-265113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Arial" panose="020B0604020202020204" pitchFamily="34" charset="0"/>
        <a:buChar char="●"/>
        <a:defRPr sz="1900">
          <a:solidFill>
            <a:schemeClr val="tx1"/>
          </a:solidFill>
          <a:latin typeface="+mn-lt"/>
        </a:defRPr>
      </a:lvl3pPr>
      <a:lvl4pPr marL="1250950" indent="-1793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anose="05000000000000000000" pitchFamily="2" charset="2"/>
        <a:buChar char="§"/>
        <a:defRPr sz="1700">
          <a:solidFill>
            <a:schemeClr val="tx1"/>
          </a:solidFill>
          <a:latin typeface="+mn-lt"/>
        </a:defRPr>
      </a:lvl4pPr>
      <a:lvl5pPr marL="16113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anose="020B0602030504020204" pitchFamily="34" charset="0"/>
        <a:buChar char="∙"/>
        <a:defRPr sz="1700">
          <a:solidFill>
            <a:schemeClr val="tx1"/>
          </a:solidFill>
          <a:latin typeface="+mn-lt"/>
        </a:defRPr>
      </a:lvl5pPr>
      <a:lvl6pPr marL="20685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6pPr>
      <a:lvl7pPr marL="25257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7pPr>
      <a:lvl8pPr marL="29829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8pPr>
      <a:lvl9pPr marL="34401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illustrations/qualit%C3%A4t-haken-h%C3%A4kchen-abgehakt-ja-500950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necraft-zh.gamepedia.com/index.php?title=File:Red_x.svg&amp;variant=zh-hk" TargetMode="Externa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hteck 1">
            <a:extLst>
              <a:ext uri="{FF2B5EF4-FFF2-40B4-BE49-F238E27FC236}">
                <a16:creationId xmlns:a16="http://schemas.microsoft.com/office/drawing/2014/main" id="{5D93EEF2-FCD9-4107-8C19-9CC41BE81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1550"/>
            <a:ext cx="13442950" cy="5834063"/>
          </a:xfrm>
          <a:prstGeom prst="rect">
            <a:avLst/>
          </a:prstGeom>
          <a:blipFill dpi="0" rotWithShape="1">
            <a:blip r:embed="rId3">
              <a:alphaModFix amt="80000"/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5BFAA35D-1D85-48EB-93C0-A2D4AF739E1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71563" y="2271713"/>
            <a:ext cx="11426825" cy="1665287"/>
          </a:xfrm>
        </p:spPr>
        <p:txBody>
          <a:bodyPr/>
          <a:lstStyle/>
          <a:p>
            <a:r>
              <a:rPr lang="en-US" altLang="de-DE"/>
              <a:t>Great Barrier Reef</a:t>
            </a:r>
            <a:br>
              <a:rPr lang="en-US" altLang="de-DE"/>
            </a:br>
            <a:r>
              <a:rPr lang="en-US" altLang="de-DE"/>
              <a:t>Invasive Starfish Detector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F66C51EF-1E25-45F3-B5F3-9F90CDAD489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560888" y="4113213"/>
            <a:ext cx="4464050" cy="947737"/>
          </a:xfrm>
        </p:spPr>
        <p:txBody>
          <a:bodyPr/>
          <a:lstStyle/>
          <a:p>
            <a:pPr marL="0" indent="0"/>
            <a:r>
              <a:rPr lang="en-US" altLang="de-DE"/>
              <a:t>Team 8 </a:t>
            </a:r>
          </a:p>
          <a:p>
            <a:pPr marL="0" indent="0"/>
            <a:r>
              <a:rPr lang="en-US" altLang="de-DE"/>
              <a:t>Nick Wagner  |  David Ung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4E20E3-F4BE-41AB-ABFC-1C135B81B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EFEE78-2C87-4E4D-9685-8AC1CDF09A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11">
            <a:extLst>
              <a:ext uri="{FF2B5EF4-FFF2-40B4-BE49-F238E27FC236}">
                <a16:creationId xmlns:a16="http://schemas.microsoft.com/office/drawing/2014/main" id="{40BC2F22-CDEA-4558-9941-39429C369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075" y="1764407"/>
            <a:ext cx="3963987" cy="325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Gerader Verbinder 35">
            <a:extLst>
              <a:ext uri="{FF2B5EF4-FFF2-40B4-BE49-F238E27FC236}">
                <a16:creationId xmlns:a16="http://schemas.microsoft.com/office/drawing/2014/main" id="{D7C70A27-3716-441F-81FC-481B5BE11682}"/>
              </a:ext>
            </a:extLst>
          </p:cNvPr>
          <p:cNvCxnSpPr>
            <a:cxnSpLocks/>
          </p:cNvCxnSpPr>
          <p:nvPr/>
        </p:nvCxnSpPr>
        <p:spPr bwMode="auto">
          <a:xfrm>
            <a:off x="4260900" y="1762820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Gerader Verbinder 36">
            <a:extLst>
              <a:ext uri="{FF2B5EF4-FFF2-40B4-BE49-F238E27FC236}">
                <a16:creationId xmlns:a16="http://schemas.microsoft.com/office/drawing/2014/main" id="{B2A1827F-88E3-4668-A86E-07B9410FD5DA}"/>
              </a:ext>
            </a:extLst>
          </p:cNvPr>
          <p:cNvCxnSpPr>
            <a:cxnSpLocks/>
          </p:cNvCxnSpPr>
          <p:nvPr/>
        </p:nvCxnSpPr>
        <p:spPr bwMode="auto">
          <a:xfrm>
            <a:off x="5989687" y="1751707"/>
            <a:ext cx="0" cy="3254375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Gerader Verbinder 37">
            <a:extLst>
              <a:ext uri="{FF2B5EF4-FFF2-40B4-BE49-F238E27FC236}">
                <a16:creationId xmlns:a16="http://schemas.microsoft.com/office/drawing/2014/main" id="{F753EB3B-F97D-4E84-98E8-7D8031D4D81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3553520"/>
            <a:ext cx="3963987" cy="0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r Verbinder 38">
            <a:extLst>
              <a:ext uri="{FF2B5EF4-FFF2-40B4-BE49-F238E27FC236}">
                <a16:creationId xmlns:a16="http://schemas.microsoft.com/office/drawing/2014/main" id="{55EA670F-B41B-494E-ACFE-8040F5365795}"/>
              </a:ext>
            </a:extLst>
          </p:cNvPr>
          <p:cNvCxnSpPr>
            <a:cxnSpLocks/>
          </p:cNvCxnSpPr>
          <p:nvPr/>
        </p:nvCxnSpPr>
        <p:spPr bwMode="auto">
          <a:xfrm>
            <a:off x="3121075" y="1861245"/>
            <a:ext cx="3963987" cy="11112"/>
          </a:xfrm>
          <a:prstGeom prst="line">
            <a:avLst/>
          </a:prstGeom>
          <a:noFill/>
          <a:ln w="57150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Rechteck 43">
            <a:extLst>
              <a:ext uri="{FF2B5EF4-FFF2-40B4-BE49-F238E27FC236}">
                <a16:creationId xmlns:a16="http://schemas.microsoft.com/office/drawing/2014/main" id="{C46C97AC-EAA2-4F41-8FAD-A66CFF942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3712" y="2616895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1" name="Rechteck 44">
            <a:extLst>
              <a:ext uri="{FF2B5EF4-FFF2-40B4-BE49-F238E27FC236}">
                <a16:creationId xmlns:a16="http://schemas.microsoft.com/office/drawing/2014/main" id="{00AE96EB-66BC-4FF0-8FF1-336500DBD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6800" y="1931095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8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12" name="Ellipse 3">
            <a:extLst>
              <a:ext uri="{FF2B5EF4-FFF2-40B4-BE49-F238E27FC236}">
                <a16:creationId xmlns:a16="http://schemas.microsoft.com/office/drawing/2014/main" id="{DC2D23B7-4BDE-46EA-A52E-132BDC8DF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4112" y="3180457"/>
            <a:ext cx="177800" cy="177800"/>
          </a:xfrm>
          <a:prstGeom prst="ellipse">
            <a:avLst/>
          </a:prstGeom>
          <a:solidFill>
            <a:srgbClr val="FF0000"/>
          </a:solidFill>
          <a:ln w="25400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13" name="Ellipse 49">
            <a:extLst>
              <a:ext uri="{FF2B5EF4-FFF2-40B4-BE49-F238E27FC236}">
                <a16:creationId xmlns:a16="http://schemas.microsoft.com/office/drawing/2014/main" id="{CF896FCC-D9FA-4D61-AC9A-F5A5D2E30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9625" y="2310507"/>
            <a:ext cx="177800" cy="1793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043547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>
            <a:extLst>
              <a:ext uri="{FF2B5EF4-FFF2-40B4-BE49-F238E27FC236}">
                <a16:creationId xmlns:a16="http://schemas.microsoft.com/office/drawing/2014/main" id="{D9A04B81-B473-488F-8A85-4920E3FEA7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11267" name="Fußzeilenplatzhalter 3">
            <a:extLst>
              <a:ext uri="{FF2B5EF4-FFF2-40B4-BE49-F238E27FC236}">
                <a16:creationId xmlns:a16="http://schemas.microsoft.com/office/drawing/2014/main" id="{13A4BCF8-D198-4BA6-BB20-F74166F8A29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11268" name="Gruppieren 5">
            <a:extLst>
              <a:ext uri="{FF2B5EF4-FFF2-40B4-BE49-F238E27FC236}">
                <a16:creationId xmlns:a16="http://schemas.microsoft.com/office/drawing/2014/main" id="{0B1E9445-C822-44FD-A848-3A761E553534}"/>
              </a:ext>
            </a:extLst>
          </p:cNvPr>
          <p:cNvGrpSpPr>
            <a:grpSpLocks/>
          </p:cNvGrpSpPr>
          <p:nvPr/>
        </p:nvGrpSpPr>
        <p:grpSpPr bwMode="auto">
          <a:xfrm>
            <a:off x="2790825" y="4402138"/>
            <a:ext cx="2968625" cy="2720975"/>
            <a:chOff x="5099526" y="4015537"/>
            <a:chExt cx="2967997" cy="2719827"/>
          </a:xfrm>
        </p:grpSpPr>
        <p:grpSp>
          <p:nvGrpSpPr>
            <p:cNvPr id="11407" name="Gruppieren 6">
              <a:extLst>
                <a:ext uri="{FF2B5EF4-FFF2-40B4-BE49-F238E27FC236}">
                  <a16:creationId xmlns:a16="http://schemas.microsoft.com/office/drawing/2014/main" id="{A5C6A55C-EF0E-4A67-895D-6059FA165E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409" name="Gruppieren 8">
                <a:extLst>
                  <a:ext uri="{FF2B5EF4-FFF2-40B4-BE49-F238E27FC236}">
                    <a16:creationId xmlns:a16="http://schemas.microsoft.com/office/drawing/2014/main" id="{410F76CC-80AF-41F3-B019-9BC13E4CAE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411" name="Gruppieren 10">
                  <a:extLst>
                    <a:ext uri="{FF2B5EF4-FFF2-40B4-BE49-F238E27FC236}">
                      <a16:creationId xmlns:a16="http://schemas.microsoft.com/office/drawing/2014/main" id="{506AC50E-804E-4882-BD79-088DE9FF44A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418" name="Gerader Verbinder 45">
                    <a:extLst>
                      <a:ext uri="{FF2B5EF4-FFF2-40B4-BE49-F238E27FC236}">
                        <a16:creationId xmlns:a16="http://schemas.microsoft.com/office/drawing/2014/main" id="{F1F793D3-CC1D-428A-842C-302B108529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19" name="Gerader Verbinder 46">
                    <a:extLst>
                      <a:ext uri="{FF2B5EF4-FFF2-40B4-BE49-F238E27FC236}">
                        <a16:creationId xmlns:a16="http://schemas.microsoft.com/office/drawing/2014/main" id="{E7114046-67EC-49A9-8BB3-F1075B2B9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0" name="Gerader Verbinder 47">
                    <a:extLst>
                      <a:ext uri="{FF2B5EF4-FFF2-40B4-BE49-F238E27FC236}">
                        <a16:creationId xmlns:a16="http://schemas.microsoft.com/office/drawing/2014/main" id="{7FD10327-B5FC-434F-AC0A-B5EADF3BDF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1" name="Gerader Verbinder 48">
                    <a:extLst>
                      <a:ext uri="{FF2B5EF4-FFF2-40B4-BE49-F238E27FC236}">
                        <a16:creationId xmlns:a16="http://schemas.microsoft.com/office/drawing/2014/main" id="{79A5809B-0726-49C9-9D47-8E4B31DD31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2" name="Gerader Verbinder 49">
                    <a:extLst>
                      <a:ext uri="{FF2B5EF4-FFF2-40B4-BE49-F238E27FC236}">
                        <a16:creationId xmlns:a16="http://schemas.microsoft.com/office/drawing/2014/main" id="{74944BC6-FD54-4801-9767-3181F94323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3" name="Gerader Verbinder 50">
                    <a:extLst>
                      <a:ext uri="{FF2B5EF4-FFF2-40B4-BE49-F238E27FC236}">
                        <a16:creationId xmlns:a16="http://schemas.microsoft.com/office/drawing/2014/main" id="{0CA1E9F8-A419-46CC-8A2C-AFCF6FB06A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4" name="Gerader Verbinder 51">
                    <a:extLst>
                      <a:ext uri="{FF2B5EF4-FFF2-40B4-BE49-F238E27FC236}">
                        <a16:creationId xmlns:a16="http://schemas.microsoft.com/office/drawing/2014/main" id="{140074EA-8A58-46F7-9A78-932103F898D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5" name="Gerader Verbinder 52">
                    <a:extLst>
                      <a:ext uri="{FF2B5EF4-FFF2-40B4-BE49-F238E27FC236}">
                        <a16:creationId xmlns:a16="http://schemas.microsoft.com/office/drawing/2014/main" id="{D55917EA-839A-4936-B18F-EDB2C9FBB2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6" name="Gerader Verbinder 53">
                    <a:extLst>
                      <a:ext uri="{FF2B5EF4-FFF2-40B4-BE49-F238E27FC236}">
                        <a16:creationId xmlns:a16="http://schemas.microsoft.com/office/drawing/2014/main" id="{EFCCC5EE-CC22-4558-B1BD-B3822347E0F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7" name="Gerader Verbinder 54">
                    <a:extLst>
                      <a:ext uri="{FF2B5EF4-FFF2-40B4-BE49-F238E27FC236}">
                        <a16:creationId xmlns:a16="http://schemas.microsoft.com/office/drawing/2014/main" id="{D26F822C-7685-4CF4-9656-69623EB710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8" name="Gerader Verbinder 55">
                    <a:extLst>
                      <a:ext uri="{FF2B5EF4-FFF2-40B4-BE49-F238E27FC236}">
                        <a16:creationId xmlns:a16="http://schemas.microsoft.com/office/drawing/2014/main" id="{FA8F8BDE-BF21-449A-877F-C52A7162B2F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29" name="Gerader Verbinder 56">
                    <a:extLst>
                      <a:ext uri="{FF2B5EF4-FFF2-40B4-BE49-F238E27FC236}">
                        <a16:creationId xmlns:a16="http://schemas.microsoft.com/office/drawing/2014/main" id="{76925963-3FAC-4D40-9C08-FAB778A651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0" name="Gerader Verbinder 57">
                    <a:extLst>
                      <a:ext uri="{FF2B5EF4-FFF2-40B4-BE49-F238E27FC236}">
                        <a16:creationId xmlns:a16="http://schemas.microsoft.com/office/drawing/2014/main" id="{69748060-DC0E-4A5E-910B-1D9CDF86957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1" name="Gerader Verbinder 58">
                    <a:extLst>
                      <a:ext uri="{FF2B5EF4-FFF2-40B4-BE49-F238E27FC236}">
                        <a16:creationId xmlns:a16="http://schemas.microsoft.com/office/drawing/2014/main" id="{8BFE1950-8D10-44A8-A9D5-03809836F1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2" name="Gerader Verbinder 59">
                    <a:extLst>
                      <a:ext uri="{FF2B5EF4-FFF2-40B4-BE49-F238E27FC236}">
                        <a16:creationId xmlns:a16="http://schemas.microsoft.com/office/drawing/2014/main" id="{653D57EF-ED9A-4B26-B923-89CB13ED69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33" name="Gerader Verbinder 60">
                    <a:extLst>
                      <a:ext uri="{FF2B5EF4-FFF2-40B4-BE49-F238E27FC236}">
                        <a16:creationId xmlns:a16="http://schemas.microsoft.com/office/drawing/2014/main" id="{D780314B-1A00-477B-B541-3D2BE1127D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412" name="Textfeld 11">
                  <a:extLst>
                    <a:ext uri="{FF2B5EF4-FFF2-40B4-BE49-F238E27FC236}">
                      <a16:creationId xmlns:a16="http://schemas.microsoft.com/office/drawing/2014/main" id="{B7E6147F-5070-451B-AA08-F6DE784E046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3" name="Rechteck 12">
                  <a:extLst>
                    <a:ext uri="{FF2B5EF4-FFF2-40B4-BE49-F238E27FC236}">
                      <a16:creationId xmlns:a16="http://schemas.microsoft.com/office/drawing/2014/main" id="{07868CEF-43EB-4971-B44F-2E56CCE86B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4" name="Rechteck 13">
                  <a:extLst>
                    <a:ext uri="{FF2B5EF4-FFF2-40B4-BE49-F238E27FC236}">
                      <a16:creationId xmlns:a16="http://schemas.microsoft.com/office/drawing/2014/main" id="{E9B2672F-8C19-4008-BA2D-03AF5D46B0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5" name="Rechteck 14">
                  <a:extLst>
                    <a:ext uri="{FF2B5EF4-FFF2-40B4-BE49-F238E27FC236}">
                      <a16:creationId xmlns:a16="http://schemas.microsoft.com/office/drawing/2014/main" id="{A9474F28-68F0-4A9C-8966-0AE1B8FFD1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6" name="Rechteck 15">
                  <a:extLst>
                    <a:ext uri="{FF2B5EF4-FFF2-40B4-BE49-F238E27FC236}">
                      <a16:creationId xmlns:a16="http://schemas.microsoft.com/office/drawing/2014/main" id="{8CB7B054-0F76-4685-BC41-BEB787F9F0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417" name="Rechteck 16">
                  <a:extLst>
                    <a:ext uri="{FF2B5EF4-FFF2-40B4-BE49-F238E27FC236}">
                      <a16:creationId xmlns:a16="http://schemas.microsoft.com/office/drawing/2014/main" id="{23D411CB-10B3-44A5-8259-920B2AD81C3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410" name="Rechteck 9">
                <a:extLst>
                  <a:ext uri="{FF2B5EF4-FFF2-40B4-BE49-F238E27FC236}">
                    <a16:creationId xmlns:a16="http://schemas.microsoft.com/office/drawing/2014/main" id="{0F744BD8-DE7C-426F-9208-B2A52A0A4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408" name="Textfeld 7">
              <a:extLst>
                <a:ext uri="{FF2B5EF4-FFF2-40B4-BE49-F238E27FC236}">
                  <a16:creationId xmlns:a16="http://schemas.microsoft.com/office/drawing/2014/main" id="{913C7484-FA6C-43A7-B174-5D779D4F17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1675" y="4015537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x-center</a:t>
              </a:r>
              <a:endParaRPr lang="en-US" altLang="en-US" b="1"/>
            </a:p>
          </p:txBody>
        </p:sp>
      </p:grpSp>
      <p:grpSp>
        <p:nvGrpSpPr>
          <p:cNvPr id="11269" name="Gruppieren 33">
            <a:extLst>
              <a:ext uri="{FF2B5EF4-FFF2-40B4-BE49-F238E27FC236}">
                <a16:creationId xmlns:a16="http://schemas.microsoft.com/office/drawing/2014/main" id="{AE338365-7DF7-4ECA-A777-A7D407B6F3DB}"/>
              </a:ext>
            </a:extLst>
          </p:cNvPr>
          <p:cNvGrpSpPr>
            <a:grpSpLocks/>
          </p:cNvGrpSpPr>
          <p:nvPr/>
        </p:nvGrpSpPr>
        <p:grpSpPr bwMode="auto">
          <a:xfrm>
            <a:off x="5375275" y="4397375"/>
            <a:ext cx="2968625" cy="2728913"/>
            <a:chOff x="5099526" y="4007490"/>
            <a:chExt cx="2967997" cy="2727874"/>
          </a:xfrm>
        </p:grpSpPr>
        <p:grpSp>
          <p:nvGrpSpPr>
            <p:cNvPr id="11380" name="Gruppieren 34">
              <a:extLst>
                <a:ext uri="{FF2B5EF4-FFF2-40B4-BE49-F238E27FC236}">
                  <a16:creationId xmlns:a16="http://schemas.microsoft.com/office/drawing/2014/main" id="{FF236A12-9488-40E6-AB2B-40928BDB04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82" name="Gruppieren 36">
                <a:extLst>
                  <a:ext uri="{FF2B5EF4-FFF2-40B4-BE49-F238E27FC236}">
                    <a16:creationId xmlns:a16="http://schemas.microsoft.com/office/drawing/2014/main" id="{7D1F6B29-F7FA-4A2C-B0E4-AE3400702BB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84" name="Gruppieren 38">
                  <a:extLst>
                    <a:ext uri="{FF2B5EF4-FFF2-40B4-BE49-F238E27FC236}">
                      <a16:creationId xmlns:a16="http://schemas.microsoft.com/office/drawing/2014/main" id="{E93F75BA-67A8-4526-BA40-F7A42A8DEFF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91" name="Gerader Verbinder 45">
                    <a:extLst>
                      <a:ext uri="{FF2B5EF4-FFF2-40B4-BE49-F238E27FC236}">
                        <a16:creationId xmlns:a16="http://schemas.microsoft.com/office/drawing/2014/main" id="{D36CACA7-6B15-4717-9DA9-F43B4B0701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2" name="Gerader Verbinder 46">
                    <a:extLst>
                      <a:ext uri="{FF2B5EF4-FFF2-40B4-BE49-F238E27FC236}">
                        <a16:creationId xmlns:a16="http://schemas.microsoft.com/office/drawing/2014/main" id="{BE9976C6-4B9D-451E-9CE9-B237FDB6B4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3" name="Gerader Verbinder 47">
                    <a:extLst>
                      <a:ext uri="{FF2B5EF4-FFF2-40B4-BE49-F238E27FC236}">
                        <a16:creationId xmlns:a16="http://schemas.microsoft.com/office/drawing/2014/main" id="{F6C77AC0-8381-42AF-B352-1323495DC1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4" name="Gerader Verbinder 48">
                    <a:extLst>
                      <a:ext uri="{FF2B5EF4-FFF2-40B4-BE49-F238E27FC236}">
                        <a16:creationId xmlns:a16="http://schemas.microsoft.com/office/drawing/2014/main" id="{116EE9E6-11E7-464F-99D0-63719CC7CC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5" name="Gerader Verbinder 49">
                    <a:extLst>
                      <a:ext uri="{FF2B5EF4-FFF2-40B4-BE49-F238E27FC236}">
                        <a16:creationId xmlns:a16="http://schemas.microsoft.com/office/drawing/2014/main" id="{084B1FD8-61E8-4148-A2C3-F40D8C3C663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6" name="Gerader Verbinder 50">
                    <a:extLst>
                      <a:ext uri="{FF2B5EF4-FFF2-40B4-BE49-F238E27FC236}">
                        <a16:creationId xmlns:a16="http://schemas.microsoft.com/office/drawing/2014/main" id="{DC60D817-E320-4F73-BB21-BF1FDA580D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7" name="Gerader Verbinder 51">
                    <a:extLst>
                      <a:ext uri="{FF2B5EF4-FFF2-40B4-BE49-F238E27FC236}">
                        <a16:creationId xmlns:a16="http://schemas.microsoft.com/office/drawing/2014/main" id="{4AD53FA9-DD30-4AAB-9D40-0AE3ABE308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8" name="Gerader Verbinder 52">
                    <a:extLst>
                      <a:ext uri="{FF2B5EF4-FFF2-40B4-BE49-F238E27FC236}">
                        <a16:creationId xmlns:a16="http://schemas.microsoft.com/office/drawing/2014/main" id="{2518DE9F-8975-4785-BF2C-FDD6E87906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99" name="Gerader Verbinder 53">
                    <a:extLst>
                      <a:ext uri="{FF2B5EF4-FFF2-40B4-BE49-F238E27FC236}">
                        <a16:creationId xmlns:a16="http://schemas.microsoft.com/office/drawing/2014/main" id="{7F959C39-1F05-4831-970F-386C8759CB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0" name="Gerader Verbinder 54">
                    <a:extLst>
                      <a:ext uri="{FF2B5EF4-FFF2-40B4-BE49-F238E27FC236}">
                        <a16:creationId xmlns:a16="http://schemas.microsoft.com/office/drawing/2014/main" id="{2FA0A85C-A2F2-41D4-88E7-A01B0827FAA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1" name="Gerader Verbinder 55">
                    <a:extLst>
                      <a:ext uri="{FF2B5EF4-FFF2-40B4-BE49-F238E27FC236}">
                        <a16:creationId xmlns:a16="http://schemas.microsoft.com/office/drawing/2014/main" id="{7D95E63B-FBE0-463C-8BAE-0EF5E7A310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2" name="Gerader Verbinder 56">
                    <a:extLst>
                      <a:ext uri="{FF2B5EF4-FFF2-40B4-BE49-F238E27FC236}">
                        <a16:creationId xmlns:a16="http://schemas.microsoft.com/office/drawing/2014/main" id="{789FD323-F4CC-44AA-8000-0BBCA57299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3" name="Gerader Verbinder 57">
                    <a:extLst>
                      <a:ext uri="{FF2B5EF4-FFF2-40B4-BE49-F238E27FC236}">
                        <a16:creationId xmlns:a16="http://schemas.microsoft.com/office/drawing/2014/main" id="{82E69BC0-3EBE-4331-927D-E0E7D56E6A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4" name="Gerader Verbinder 58">
                    <a:extLst>
                      <a:ext uri="{FF2B5EF4-FFF2-40B4-BE49-F238E27FC236}">
                        <a16:creationId xmlns:a16="http://schemas.microsoft.com/office/drawing/2014/main" id="{54058C97-5039-4029-A6A3-E531827A41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5" name="Gerader Verbinder 59">
                    <a:extLst>
                      <a:ext uri="{FF2B5EF4-FFF2-40B4-BE49-F238E27FC236}">
                        <a16:creationId xmlns:a16="http://schemas.microsoft.com/office/drawing/2014/main" id="{A8FE03D9-17EC-4E6A-88B8-D4AFFF67A4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406" name="Gerader Verbinder 60">
                    <a:extLst>
                      <a:ext uri="{FF2B5EF4-FFF2-40B4-BE49-F238E27FC236}">
                        <a16:creationId xmlns:a16="http://schemas.microsoft.com/office/drawing/2014/main" id="{10B2D3BE-F52C-4120-A98D-F4DB0D87BF3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85" name="Textfeld 39">
                  <a:extLst>
                    <a:ext uri="{FF2B5EF4-FFF2-40B4-BE49-F238E27FC236}">
                      <a16:creationId xmlns:a16="http://schemas.microsoft.com/office/drawing/2014/main" id="{278EFE1E-EC7F-41C3-A28F-27E1804475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6" name="Rechteck 40">
                  <a:extLst>
                    <a:ext uri="{FF2B5EF4-FFF2-40B4-BE49-F238E27FC236}">
                      <a16:creationId xmlns:a16="http://schemas.microsoft.com/office/drawing/2014/main" id="{12C5A579-8C80-4806-917F-12CFBEE960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7" name="Rechteck 41">
                  <a:extLst>
                    <a:ext uri="{FF2B5EF4-FFF2-40B4-BE49-F238E27FC236}">
                      <a16:creationId xmlns:a16="http://schemas.microsoft.com/office/drawing/2014/main" id="{4B8BA88F-7D7E-4BDB-8FAA-3FB1E388F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8" name="Rechteck 42">
                  <a:extLst>
                    <a:ext uri="{FF2B5EF4-FFF2-40B4-BE49-F238E27FC236}">
                      <a16:creationId xmlns:a16="http://schemas.microsoft.com/office/drawing/2014/main" id="{B9E809CE-1A9D-4F3A-80C7-E464894D30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89" name="Rechteck 43">
                  <a:extLst>
                    <a:ext uri="{FF2B5EF4-FFF2-40B4-BE49-F238E27FC236}">
                      <a16:creationId xmlns:a16="http://schemas.microsoft.com/office/drawing/2014/main" id="{BA359E61-769B-4BB1-85E9-F5510982B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90" name="Rechteck 44">
                  <a:extLst>
                    <a:ext uri="{FF2B5EF4-FFF2-40B4-BE49-F238E27FC236}">
                      <a16:creationId xmlns:a16="http://schemas.microsoft.com/office/drawing/2014/main" id="{22179B04-0A45-42C6-B613-CF9E3C3C3D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83" name="Rechteck 37">
                <a:extLst>
                  <a:ext uri="{FF2B5EF4-FFF2-40B4-BE49-F238E27FC236}">
                    <a16:creationId xmlns:a16="http://schemas.microsoft.com/office/drawing/2014/main" id="{77041B00-F029-431D-9455-AB381895C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81" name="Textfeld 35">
              <a:extLst>
                <a:ext uri="{FF2B5EF4-FFF2-40B4-BE49-F238E27FC236}">
                  <a16:creationId xmlns:a16="http://schemas.microsoft.com/office/drawing/2014/main" id="{528E9091-54FF-409B-BFE3-A584D5E2DB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19" y="4007490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y-center</a:t>
              </a:r>
              <a:endParaRPr lang="en-US" altLang="en-US" b="1"/>
            </a:p>
          </p:txBody>
        </p:sp>
      </p:grpSp>
      <p:grpSp>
        <p:nvGrpSpPr>
          <p:cNvPr id="11270" name="Gruppieren 61">
            <a:extLst>
              <a:ext uri="{FF2B5EF4-FFF2-40B4-BE49-F238E27FC236}">
                <a16:creationId xmlns:a16="http://schemas.microsoft.com/office/drawing/2014/main" id="{F6B2A94D-5D33-4A7A-A801-87156539078B}"/>
              </a:ext>
            </a:extLst>
          </p:cNvPr>
          <p:cNvGrpSpPr>
            <a:grpSpLocks/>
          </p:cNvGrpSpPr>
          <p:nvPr/>
        </p:nvGrpSpPr>
        <p:grpSpPr bwMode="auto">
          <a:xfrm>
            <a:off x="7926388" y="4400550"/>
            <a:ext cx="2967037" cy="2722563"/>
            <a:chOff x="5099526" y="4012675"/>
            <a:chExt cx="2967997" cy="2722689"/>
          </a:xfrm>
        </p:grpSpPr>
        <p:grpSp>
          <p:nvGrpSpPr>
            <p:cNvPr id="11353" name="Gruppieren 62">
              <a:extLst>
                <a:ext uri="{FF2B5EF4-FFF2-40B4-BE49-F238E27FC236}">
                  <a16:creationId xmlns:a16="http://schemas.microsoft.com/office/drawing/2014/main" id="{F9EC6269-60C3-417E-B8ED-8D4EBC7180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55" name="Gruppieren 64">
                <a:extLst>
                  <a:ext uri="{FF2B5EF4-FFF2-40B4-BE49-F238E27FC236}">
                    <a16:creationId xmlns:a16="http://schemas.microsoft.com/office/drawing/2014/main" id="{F77775C4-AD45-4223-B8A5-A9E0234BD8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57" name="Gruppieren 66">
                  <a:extLst>
                    <a:ext uri="{FF2B5EF4-FFF2-40B4-BE49-F238E27FC236}">
                      <a16:creationId xmlns:a16="http://schemas.microsoft.com/office/drawing/2014/main" id="{41A8D70A-BE40-4582-B39D-59944EF43CB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64" name="Gerader Verbinder 45">
                    <a:extLst>
                      <a:ext uri="{FF2B5EF4-FFF2-40B4-BE49-F238E27FC236}">
                        <a16:creationId xmlns:a16="http://schemas.microsoft.com/office/drawing/2014/main" id="{167E39F2-84D3-4A47-A5DD-DA3FCB967A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5" name="Gerader Verbinder 46">
                    <a:extLst>
                      <a:ext uri="{FF2B5EF4-FFF2-40B4-BE49-F238E27FC236}">
                        <a16:creationId xmlns:a16="http://schemas.microsoft.com/office/drawing/2014/main" id="{80ACEA70-192E-463F-A4FF-43C4632D4E0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6" name="Gerader Verbinder 47">
                    <a:extLst>
                      <a:ext uri="{FF2B5EF4-FFF2-40B4-BE49-F238E27FC236}">
                        <a16:creationId xmlns:a16="http://schemas.microsoft.com/office/drawing/2014/main" id="{E4616A33-4A92-41CC-B8E8-11893A9D0A7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7" name="Gerader Verbinder 48">
                    <a:extLst>
                      <a:ext uri="{FF2B5EF4-FFF2-40B4-BE49-F238E27FC236}">
                        <a16:creationId xmlns:a16="http://schemas.microsoft.com/office/drawing/2014/main" id="{4F69D988-ABDC-42B7-BE86-704D3D959C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8" name="Gerader Verbinder 49">
                    <a:extLst>
                      <a:ext uri="{FF2B5EF4-FFF2-40B4-BE49-F238E27FC236}">
                        <a16:creationId xmlns:a16="http://schemas.microsoft.com/office/drawing/2014/main" id="{948542E1-9B46-4191-A771-9538A2B530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69" name="Gerader Verbinder 50">
                    <a:extLst>
                      <a:ext uri="{FF2B5EF4-FFF2-40B4-BE49-F238E27FC236}">
                        <a16:creationId xmlns:a16="http://schemas.microsoft.com/office/drawing/2014/main" id="{5DD627BD-C95B-4A80-A62F-635B160287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0" name="Gerader Verbinder 51">
                    <a:extLst>
                      <a:ext uri="{FF2B5EF4-FFF2-40B4-BE49-F238E27FC236}">
                        <a16:creationId xmlns:a16="http://schemas.microsoft.com/office/drawing/2014/main" id="{6E500F4F-D362-4FAD-98FC-3D711C9D0DC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1" name="Gerader Verbinder 52">
                    <a:extLst>
                      <a:ext uri="{FF2B5EF4-FFF2-40B4-BE49-F238E27FC236}">
                        <a16:creationId xmlns:a16="http://schemas.microsoft.com/office/drawing/2014/main" id="{4A382C3D-CA31-4377-9C82-5E21F6FA482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2" name="Gerader Verbinder 53">
                    <a:extLst>
                      <a:ext uri="{FF2B5EF4-FFF2-40B4-BE49-F238E27FC236}">
                        <a16:creationId xmlns:a16="http://schemas.microsoft.com/office/drawing/2014/main" id="{5093E027-DC1A-47E9-B145-D96F33D5B02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3" name="Gerader Verbinder 54">
                    <a:extLst>
                      <a:ext uri="{FF2B5EF4-FFF2-40B4-BE49-F238E27FC236}">
                        <a16:creationId xmlns:a16="http://schemas.microsoft.com/office/drawing/2014/main" id="{12EDF028-EE7D-4223-9453-2305D4F80B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4" name="Gerader Verbinder 55">
                    <a:extLst>
                      <a:ext uri="{FF2B5EF4-FFF2-40B4-BE49-F238E27FC236}">
                        <a16:creationId xmlns:a16="http://schemas.microsoft.com/office/drawing/2014/main" id="{36CB1C7E-1BA7-4F69-A67C-9221B400688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5" name="Gerader Verbinder 56">
                    <a:extLst>
                      <a:ext uri="{FF2B5EF4-FFF2-40B4-BE49-F238E27FC236}">
                        <a16:creationId xmlns:a16="http://schemas.microsoft.com/office/drawing/2014/main" id="{492029F6-E125-4FAA-8C63-B6A93ABBEC9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6" name="Gerader Verbinder 57">
                    <a:extLst>
                      <a:ext uri="{FF2B5EF4-FFF2-40B4-BE49-F238E27FC236}">
                        <a16:creationId xmlns:a16="http://schemas.microsoft.com/office/drawing/2014/main" id="{A7D516B6-2B8D-4331-9630-548F5E910C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7" name="Gerader Verbinder 58">
                    <a:extLst>
                      <a:ext uri="{FF2B5EF4-FFF2-40B4-BE49-F238E27FC236}">
                        <a16:creationId xmlns:a16="http://schemas.microsoft.com/office/drawing/2014/main" id="{7C8162F8-3E5F-4C45-A02C-F413CA7903C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8" name="Gerader Verbinder 59">
                    <a:extLst>
                      <a:ext uri="{FF2B5EF4-FFF2-40B4-BE49-F238E27FC236}">
                        <a16:creationId xmlns:a16="http://schemas.microsoft.com/office/drawing/2014/main" id="{05614020-A51F-4428-AA68-43267D91E4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79" name="Gerader Verbinder 60">
                    <a:extLst>
                      <a:ext uri="{FF2B5EF4-FFF2-40B4-BE49-F238E27FC236}">
                        <a16:creationId xmlns:a16="http://schemas.microsoft.com/office/drawing/2014/main" id="{8BC9321F-18A1-4BE5-B49E-9B140A5D41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58" name="Textfeld 67">
                  <a:extLst>
                    <a:ext uri="{FF2B5EF4-FFF2-40B4-BE49-F238E27FC236}">
                      <a16:creationId xmlns:a16="http://schemas.microsoft.com/office/drawing/2014/main" id="{00413F25-2F08-4F4A-B470-BAC6464DFE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59" name="Rechteck 68">
                  <a:extLst>
                    <a:ext uri="{FF2B5EF4-FFF2-40B4-BE49-F238E27FC236}">
                      <a16:creationId xmlns:a16="http://schemas.microsoft.com/office/drawing/2014/main" id="{D7B370BC-67C1-4893-B60E-3FBAE5D50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0" name="Rechteck 69">
                  <a:extLst>
                    <a:ext uri="{FF2B5EF4-FFF2-40B4-BE49-F238E27FC236}">
                      <a16:creationId xmlns:a16="http://schemas.microsoft.com/office/drawing/2014/main" id="{AC6DC4DB-BF67-4D7A-BAB2-006496E230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1" name="Rechteck 70">
                  <a:extLst>
                    <a:ext uri="{FF2B5EF4-FFF2-40B4-BE49-F238E27FC236}">
                      <a16:creationId xmlns:a16="http://schemas.microsoft.com/office/drawing/2014/main" id="{CD8C34AF-92E8-489D-8923-305B3FC3E4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2" name="Rechteck 71">
                  <a:extLst>
                    <a:ext uri="{FF2B5EF4-FFF2-40B4-BE49-F238E27FC236}">
                      <a16:creationId xmlns:a16="http://schemas.microsoft.com/office/drawing/2014/main" id="{0CD0AA67-053B-41B8-919D-C6135756E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63" name="Rechteck 72">
                  <a:extLst>
                    <a:ext uri="{FF2B5EF4-FFF2-40B4-BE49-F238E27FC236}">
                      <a16:creationId xmlns:a16="http://schemas.microsoft.com/office/drawing/2014/main" id="{306B41D3-B2B6-422C-B2FF-0CBA0181B6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56" name="Rechteck 65">
                <a:extLst>
                  <a:ext uri="{FF2B5EF4-FFF2-40B4-BE49-F238E27FC236}">
                    <a16:creationId xmlns:a16="http://schemas.microsoft.com/office/drawing/2014/main" id="{6D39F34E-4DC2-476F-9B9B-46B674088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54" name="Textfeld 63">
              <a:extLst>
                <a:ext uri="{FF2B5EF4-FFF2-40B4-BE49-F238E27FC236}">
                  <a16:creationId xmlns:a16="http://schemas.microsoft.com/office/drawing/2014/main" id="{780E3707-117F-4742-A804-CDD923429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635" y="4012675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width</a:t>
              </a:r>
              <a:endParaRPr lang="en-US" altLang="en-US" b="1"/>
            </a:p>
          </p:txBody>
        </p:sp>
      </p:grpSp>
      <p:grpSp>
        <p:nvGrpSpPr>
          <p:cNvPr id="11271" name="Gruppieren 89">
            <a:extLst>
              <a:ext uri="{FF2B5EF4-FFF2-40B4-BE49-F238E27FC236}">
                <a16:creationId xmlns:a16="http://schemas.microsoft.com/office/drawing/2014/main" id="{730B5C6A-997C-4922-AF46-610AAAF243F6}"/>
              </a:ext>
            </a:extLst>
          </p:cNvPr>
          <p:cNvGrpSpPr>
            <a:grpSpLocks/>
          </p:cNvGrpSpPr>
          <p:nvPr/>
        </p:nvGrpSpPr>
        <p:grpSpPr bwMode="auto">
          <a:xfrm>
            <a:off x="10455275" y="4381500"/>
            <a:ext cx="2967038" cy="2728913"/>
            <a:chOff x="5099526" y="4005806"/>
            <a:chExt cx="2967997" cy="2729558"/>
          </a:xfrm>
        </p:grpSpPr>
        <p:grpSp>
          <p:nvGrpSpPr>
            <p:cNvPr id="11326" name="Gruppieren 90">
              <a:extLst>
                <a:ext uri="{FF2B5EF4-FFF2-40B4-BE49-F238E27FC236}">
                  <a16:creationId xmlns:a16="http://schemas.microsoft.com/office/drawing/2014/main" id="{E490768D-E38A-4E6D-933B-222D7A151A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99526" y="4320395"/>
              <a:ext cx="2967997" cy="2414969"/>
              <a:chOff x="5099526" y="4320395"/>
              <a:chExt cx="2967997" cy="2414969"/>
            </a:xfrm>
          </p:grpSpPr>
          <p:grpSp>
            <p:nvGrpSpPr>
              <p:cNvPr id="11328" name="Gruppieren 92">
                <a:extLst>
                  <a:ext uri="{FF2B5EF4-FFF2-40B4-BE49-F238E27FC236}">
                    <a16:creationId xmlns:a16="http://schemas.microsoft.com/office/drawing/2014/main" id="{B008EF08-EAF7-42A5-87A3-D1EE2CBCF8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9526" y="4320395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30" name="Gruppieren 94">
                  <a:extLst>
                    <a:ext uri="{FF2B5EF4-FFF2-40B4-BE49-F238E27FC236}">
                      <a16:creationId xmlns:a16="http://schemas.microsoft.com/office/drawing/2014/main" id="{A837075C-E3FF-4455-A350-372B4D73D84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37" name="Gerader Verbinder 45">
                    <a:extLst>
                      <a:ext uri="{FF2B5EF4-FFF2-40B4-BE49-F238E27FC236}">
                        <a16:creationId xmlns:a16="http://schemas.microsoft.com/office/drawing/2014/main" id="{4F48DC13-F146-4EE0-A2F0-5C1303668CA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8" name="Gerader Verbinder 46">
                    <a:extLst>
                      <a:ext uri="{FF2B5EF4-FFF2-40B4-BE49-F238E27FC236}">
                        <a16:creationId xmlns:a16="http://schemas.microsoft.com/office/drawing/2014/main" id="{C69E335A-CA4E-4CF8-9EFD-6C1984D6CDE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39" name="Gerader Verbinder 47">
                    <a:extLst>
                      <a:ext uri="{FF2B5EF4-FFF2-40B4-BE49-F238E27FC236}">
                        <a16:creationId xmlns:a16="http://schemas.microsoft.com/office/drawing/2014/main" id="{83620DAC-C2D4-46D3-9658-98A2FA2390D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0" name="Gerader Verbinder 48">
                    <a:extLst>
                      <a:ext uri="{FF2B5EF4-FFF2-40B4-BE49-F238E27FC236}">
                        <a16:creationId xmlns:a16="http://schemas.microsoft.com/office/drawing/2014/main" id="{19AD8BAC-D790-4E6A-888C-BFC1B0A0E6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1" name="Gerader Verbinder 49">
                    <a:extLst>
                      <a:ext uri="{FF2B5EF4-FFF2-40B4-BE49-F238E27FC236}">
                        <a16:creationId xmlns:a16="http://schemas.microsoft.com/office/drawing/2014/main" id="{64D2342C-C1E4-4457-81F0-1571796A59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2" name="Gerader Verbinder 50">
                    <a:extLst>
                      <a:ext uri="{FF2B5EF4-FFF2-40B4-BE49-F238E27FC236}">
                        <a16:creationId xmlns:a16="http://schemas.microsoft.com/office/drawing/2014/main" id="{3644ACDF-4AD6-444A-BE52-96C65B0115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3" name="Gerader Verbinder 51">
                    <a:extLst>
                      <a:ext uri="{FF2B5EF4-FFF2-40B4-BE49-F238E27FC236}">
                        <a16:creationId xmlns:a16="http://schemas.microsoft.com/office/drawing/2014/main" id="{4354B928-505B-46AC-BF88-64E7A7F659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4" name="Gerader Verbinder 52">
                    <a:extLst>
                      <a:ext uri="{FF2B5EF4-FFF2-40B4-BE49-F238E27FC236}">
                        <a16:creationId xmlns:a16="http://schemas.microsoft.com/office/drawing/2014/main" id="{77662AC3-8B5D-4EBC-A6FC-CFBC235BEE4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5" name="Gerader Verbinder 53">
                    <a:extLst>
                      <a:ext uri="{FF2B5EF4-FFF2-40B4-BE49-F238E27FC236}">
                        <a16:creationId xmlns:a16="http://schemas.microsoft.com/office/drawing/2014/main" id="{5BA66AFE-2EA7-4FD9-BA37-48C3E68595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6" name="Gerader Verbinder 54">
                    <a:extLst>
                      <a:ext uri="{FF2B5EF4-FFF2-40B4-BE49-F238E27FC236}">
                        <a16:creationId xmlns:a16="http://schemas.microsoft.com/office/drawing/2014/main" id="{002D3C9D-625D-4A1A-94DE-CA384C30FC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7" name="Gerader Verbinder 55">
                    <a:extLst>
                      <a:ext uri="{FF2B5EF4-FFF2-40B4-BE49-F238E27FC236}">
                        <a16:creationId xmlns:a16="http://schemas.microsoft.com/office/drawing/2014/main" id="{03921FF9-7BF2-4DE0-B908-64C3108598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8" name="Gerader Verbinder 56">
                    <a:extLst>
                      <a:ext uri="{FF2B5EF4-FFF2-40B4-BE49-F238E27FC236}">
                        <a16:creationId xmlns:a16="http://schemas.microsoft.com/office/drawing/2014/main" id="{5F512D20-7D69-4713-A2BC-0C6477FA24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49" name="Gerader Verbinder 57">
                    <a:extLst>
                      <a:ext uri="{FF2B5EF4-FFF2-40B4-BE49-F238E27FC236}">
                        <a16:creationId xmlns:a16="http://schemas.microsoft.com/office/drawing/2014/main" id="{ABB94A4F-D19C-4C69-BD6B-A73AA3667D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0" name="Gerader Verbinder 58">
                    <a:extLst>
                      <a:ext uri="{FF2B5EF4-FFF2-40B4-BE49-F238E27FC236}">
                        <a16:creationId xmlns:a16="http://schemas.microsoft.com/office/drawing/2014/main" id="{4EA4AD4F-C90F-407B-9B64-7B5BB0357B7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1" name="Gerader Verbinder 59">
                    <a:extLst>
                      <a:ext uri="{FF2B5EF4-FFF2-40B4-BE49-F238E27FC236}">
                        <a16:creationId xmlns:a16="http://schemas.microsoft.com/office/drawing/2014/main" id="{0CBA38EB-213A-4E3E-B797-4A8B0655FE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52" name="Gerader Verbinder 60">
                    <a:extLst>
                      <a:ext uri="{FF2B5EF4-FFF2-40B4-BE49-F238E27FC236}">
                        <a16:creationId xmlns:a16="http://schemas.microsoft.com/office/drawing/2014/main" id="{38F27574-7742-4512-A9E1-652369588D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31" name="Textfeld 95">
                  <a:extLst>
                    <a:ext uri="{FF2B5EF4-FFF2-40B4-BE49-F238E27FC236}">
                      <a16:creationId xmlns:a16="http://schemas.microsoft.com/office/drawing/2014/main" id="{255EF8E7-D284-4A44-A2CF-AF3285B2C17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2" name="Rechteck 96">
                  <a:extLst>
                    <a:ext uri="{FF2B5EF4-FFF2-40B4-BE49-F238E27FC236}">
                      <a16:creationId xmlns:a16="http://schemas.microsoft.com/office/drawing/2014/main" id="{A73F45FB-C1AD-4FBF-B29D-311035F9C9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3" name="Rechteck 97">
                  <a:extLst>
                    <a:ext uri="{FF2B5EF4-FFF2-40B4-BE49-F238E27FC236}">
                      <a16:creationId xmlns:a16="http://schemas.microsoft.com/office/drawing/2014/main" id="{6E0D84DD-C697-4B74-9925-72AAAFE6EA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4" name="Rechteck 98">
                  <a:extLst>
                    <a:ext uri="{FF2B5EF4-FFF2-40B4-BE49-F238E27FC236}">
                      <a16:creationId xmlns:a16="http://schemas.microsoft.com/office/drawing/2014/main" id="{F1FB809C-715B-4F15-B92C-0193F9990C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5" name="Rechteck 99">
                  <a:extLst>
                    <a:ext uri="{FF2B5EF4-FFF2-40B4-BE49-F238E27FC236}">
                      <a16:creationId xmlns:a16="http://schemas.microsoft.com/office/drawing/2014/main" id="{0A39B21A-DC69-4531-BF30-C3F4285EFC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36" name="Rechteck 100">
                  <a:extLst>
                    <a:ext uri="{FF2B5EF4-FFF2-40B4-BE49-F238E27FC236}">
                      <a16:creationId xmlns:a16="http://schemas.microsoft.com/office/drawing/2014/main" id="{A2A79C5F-82F9-4DAF-84FF-5B84F3792E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329" name="Rechteck 93">
                <a:extLst>
                  <a:ext uri="{FF2B5EF4-FFF2-40B4-BE49-F238E27FC236}">
                    <a16:creationId xmlns:a16="http://schemas.microsoft.com/office/drawing/2014/main" id="{613CEBBA-1498-4DE2-850B-DF02A34456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6197" y="53078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11327" name="Textfeld 91">
              <a:extLst>
                <a:ext uri="{FF2B5EF4-FFF2-40B4-BE49-F238E27FC236}">
                  <a16:creationId xmlns:a16="http://schemas.microsoft.com/office/drawing/2014/main" id="{48855C59-8F19-4DA4-9720-C7EE597B3B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4995" y="4005806"/>
              <a:ext cx="1174184" cy="359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ctr"/>
              <a:r>
                <a:rPr lang="de-DE" altLang="en-US" b="1"/>
                <a:t>height</a:t>
              </a:r>
              <a:endParaRPr lang="en-US" altLang="en-US" b="1"/>
            </a:p>
          </p:txBody>
        </p:sp>
      </p:grpSp>
      <p:grpSp>
        <p:nvGrpSpPr>
          <p:cNvPr id="11272" name="Gruppieren 117">
            <a:extLst>
              <a:ext uri="{FF2B5EF4-FFF2-40B4-BE49-F238E27FC236}">
                <a16:creationId xmlns:a16="http://schemas.microsoft.com/office/drawing/2014/main" id="{D2817C91-5E85-4D22-9FAB-243B80F15A69}"/>
              </a:ext>
            </a:extLst>
          </p:cNvPr>
          <p:cNvGrpSpPr>
            <a:grpSpLocks/>
          </p:cNvGrpSpPr>
          <p:nvPr/>
        </p:nvGrpSpPr>
        <p:grpSpPr bwMode="auto">
          <a:xfrm>
            <a:off x="207963" y="4405313"/>
            <a:ext cx="2967037" cy="2719387"/>
            <a:chOff x="207572" y="4405181"/>
            <a:chExt cx="2967997" cy="2719832"/>
          </a:xfrm>
        </p:grpSpPr>
        <p:grpSp>
          <p:nvGrpSpPr>
            <p:cNvPr id="11296" name="Gruppieren 118">
              <a:extLst>
                <a:ext uri="{FF2B5EF4-FFF2-40B4-BE49-F238E27FC236}">
                  <a16:creationId xmlns:a16="http://schemas.microsoft.com/office/drawing/2014/main" id="{7EE233FD-550D-4639-A5A3-79685F06BA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405181"/>
              <a:ext cx="2967997" cy="2719832"/>
              <a:chOff x="5092857" y="1456006"/>
              <a:chExt cx="2967997" cy="2719832"/>
            </a:xfrm>
          </p:grpSpPr>
          <p:grpSp>
            <p:nvGrpSpPr>
              <p:cNvPr id="11298" name="Gruppieren 120">
                <a:extLst>
                  <a:ext uri="{FF2B5EF4-FFF2-40B4-BE49-F238E27FC236}">
                    <a16:creationId xmlns:a16="http://schemas.microsoft.com/office/drawing/2014/main" id="{EDC3CC89-73C4-42DD-8092-EA111B088B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92857" y="1760869"/>
                <a:ext cx="2967997" cy="2414969"/>
                <a:chOff x="5357638" y="3096117"/>
                <a:chExt cx="2967997" cy="2414969"/>
              </a:xfrm>
            </p:grpSpPr>
            <p:grpSp>
              <p:nvGrpSpPr>
                <p:cNvPr id="11300" name="Gruppieren 122">
                  <a:extLst>
                    <a:ext uri="{FF2B5EF4-FFF2-40B4-BE49-F238E27FC236}">
                      <a16:creationId xmlns:a16="http://schemas.microsoft.com/office/drawing/2014/main" id="{D9FA08A1-4BFB-4C9A-84D5-D74B6A2DE94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361759" y="3179543"/>
                  <a:ext cx="2382761" cy="2331543"/>
                  <a:chOff x="8045450" y="1893888"/>
                  <a:chExt cx="4875213" cy="4875212"/>
                </a:xfrm>
              </p:grpSpPr>
              <p:cxnSp>
                <p:nvCxnSpPr>
                  <p:cNvPr id="11310" name="Gerader Verbinder 45">
                    <a:extLst>
                      <a:ext uri="{FF2B5EF4-FFF2-40B4-BE49-F238E27FC236}">
                        <a16:creationId xmlns:a16="http://schemas.microsoft.com/office/drawing/2014/main" id="{BACA6E6B-D55D-49A4-9131-CC675F80E24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74077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1" name="Gerader Verbinder 46">
                    <a:extLst>
                      <a:ext uri="{FF2B5EF4-FFF2-40B4-BE49-F238E27FC236}">
                        <a16:creationId xmlns:a16="http://schemas.microsoft.com/office/drawing/2014/main" id="{04476FF2-67A9-4014-AA30-907194ABE96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943610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2" name="Gerader Verbinder 47">
                    <a:extLst>
                      <a:ext uri="{FF2B5EF4-FFF2-40B4-BE49-F238E27FC236}">
                        <a16:creationId xmlns:a16="http://schemas.microsoft.com/office/drawing/2014/main" id="{A6F58460-FA08-450F-8B7A-93C174F2DC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131425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3" name="Gerader Verbinder 48">
                    <a:extLst>
                      <a:ext uri="{FF2B5EF4-FFF2-40B4-BE49-F238E27FC236}">
                        <a16:creationId xmlns:a16="http://schemas.microsoft.com/office/drawing/2014/main" id="{F016B679-6B39-478A-B820-255720A15B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082833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4" name="Gerader Verbinder 49">
                    <a:extLst>
                      <a:ext uri="{FF2B5EF4-FFF2-40B4-BE49-F238E27FC236}">
                        <a16:creationId xmlns:a16="http://schemas.microsoft.com/office/drawing/2014/main" id="{A318D9E5-208D-4F1B-A752-573E8D26A4D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152366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5" name="Gerader Verbinder 50">
                    <a:extLst>
                      <a:ext uri="{FF2B5EF4-FFF2-40B4-BE49-F238E27FC236}">
                        <a16:creationId xmlns:a16="http://schemas.microsoft.com/office/drawing/2014/main" id="{1EA34A5D-D128-44C8-AA63-7AC8E52C2B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218988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6" name="Gerader Verbinder 51">
                    <a:extLst>
                      <a:ext uri="{FF2B5EF4-FFF2-40B4-BE49-F238E27FC236}">
                        <a16:creationId xmlns:a16="http://schemas.microsoft.com/office/drawing/2014/main" id="{9462F105-8400-4898-8DD4-11149BB093F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12914313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7" name="Gerader Verbinder 52">
                    <a:extLst>
                      <a:ext uri="{FF2B5EF4-FFF2-40B4-BE49-F238E27FC236}">
                        <a16:creationId xmlns:a16="http://schemas.microsoft.com/office/drawing/2014/main" id="{648B0237-2BF2-4E37-8F72-2BD56B7DC2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893888"/>
                    <a:ext cx="0" cy="4875212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8" name="Gerader Verbinder 53">
                    <a:extLst>
                      <a:ext uri="{FF2B5EF4-FFF2-40B4-BE49-F238E27FC236}">
                        <a16:creationId xmlns:a16="http://schemas.microsoft.com/office/drawing/2014/main" id="{CAAD9563-931E-4029-826C-861FCA679A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19050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19" name="Gerader Verbinder 54">
                    <a:extLst>
                      <a:ext uri="{FF2B5EF4-FFF2-40B4-BE49-F238E27FC236}">
                        <a16:creationId xmlns:a16="http://schemas.microsoft.com/office/drawing/2014/main" id="{18E3DFF8-82F1-410E-921F-26B7A3480B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2600325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0" name="Gerader Verbinder 55">
                    <a:extLst>
                      <a:ext uri="{FF2B5EF4-FFF2-40B4-BE49-F238E27FC236}">
                        <a16:creationId xmlns:a16="http://schemas.microsoft.com/office/drawing/2014/main" id="{A157C818-A38A-49D1-B938-CE75491BB3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2940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1" name="Gerader Verbinder 56">
                    <a:extLst>
                      <a:ext uri="{FF2B5EF4-FFF2-40B4-BE49-F238E27FC236}">
                        <a16:creationId xmlns:a16="http://schemas.microsoft.com/office/drawing/2014/main" id="{C54888D0-3A54-43E8-B33A-49657E71F95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39878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2" name="Gerader Verbinder 57">
                    <a:extLst>
                      <a:ext uri="{FF2B5EF4-FFF2-40B4-BE49-F238E27FC236}">
                        <a16:creationId xmlns:a16="http://schemas.microsoft.com/office/drawing/2014/main" id="{6CAF5972-0C31-4A5A-885C-EEE0047D7A9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46815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3" name="Gerader Verbinder 58">
                    <a:extLst>
                      <a:ext uri="{FF2B5EF4-FFF2-40B4-BE49-F238E27FC236}">
                        <a16:creationId xmlns:a16="http://schemas.microsoft.com/office/drawing/2014/main" id="{8A8CF219-83BD-49A2-B33E-E8DF25BCD09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5376863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4" name="Gerader Verbinder 59">
                    <a:extLst>
                      <a:ext uri="{FF2B5EF4-FFF2-40B4-BE49-F238E27FC236}">
                        <a16:creationId xmlns:a16="http://schemas.microsoft.com/office/drawing/2014/main" id="{2A68FE11-8A2A-4D1D-AC7D-2614E4A84EE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764338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1325" name="Gerader Verbinder 60">
                    <a:extLst>
                      <a:ext uri="{FF2B5EF4-FFF2-40B4-BE49-F238E27FC236}">
                        <a16:creationId xmlns:a16="http://schemas.microsoft.com/office/drawing/2014/main" id="{8AC1187F-F57C-4772-880E-78785E6058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8045450" y="6070600"/>
                    <a:ext cx="4875213" cy="0"/>
                  </a:xfrm>
                  <a:prstGeom prst="line">
                    <a:avLst/>
                  </a:prstGeom>
                  <a:noFill/>
                  <a:ln w="25400" algn="ctr">
                    <a:solidFill>
                      <a:srgbClr val="FFC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11301" name="Textfeld 123">
                  <a:extLst>
                    <a:ext uri="{FF2B5EF4-FFF2-40B4-BE49-F238E27FC236}">
                      <a16:creationId xmlns:a16="http://schemas.microsoft.com/office/drawing/2014/main" id="{C57D281F-E67E-4F98-99CC-369754D8EB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732522" y="4751059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2" name="Textfeld 124">
                  <a:extLst>
                    <a:ext uri="{FF2B5EF4-FFF2-40B4-BE49-F238E27FC236}">
                      <a16:creationId xmlns:a16="http://schemas.microsoft.com/office/drawing/2014/main" id="{BFB0B39D-7D40-42B7-A901-881844852DDC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400803" y="4079555"/>
                  <a:ext cx="337158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 b="1">
                      <a:solidFill>
                        <a:srgbClr val="FF0000"/>
                      </a:solidFill>
                    </a:rPr>
                    <a:t>1</a:t>
                  </a:r>
                  <a:endParaRPr lang="en-US" altLang="en-US" sz="2800" b="1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303" name="Textfeld 125">
                  <a:extLst>
                    <a:ext uri="{FF2B5EF4-FFF2-40B4-BE49-F238E27FC236}">
                      <a16:creationId xmlns:a16="http://schemas.microsoft.com/office/drawing/2014/main" id="{17E8C98C-789D-4461-8DCE-2C670BF4A85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359094" y="3096117"/>
                  <a:ext cx="2527131" cy="666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4" name="Rechteck 126">
                  <a:extLst>
                    <a:ext uri="{FF2B5EF4-FFF2-40B4-BE49-F238E27FC236}">
                      <a16:creationId xmlns:a16="http://schemas.microsoft.com/office/drawing/2014/main" id="{41CC8040-CEAE-4096-8197-987C894062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10" y="340508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5" name="Rechteck 127">
                  <a:extLst>
                    <a:ext uri="{FF2B5EF4-FFF2-40B4-BE49-F238E27FC236}">
                      <a16:creationId xmlns:a16="http://schemas.microsoft.com/office/drawing/2014/main" id="{3BB020B6-5791-4AF1-A47A-57C5BCD6D1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80" y="3736857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6" name="Rechteck 128">
                  <a:extLst>
                    <a:ext uri="{FF2B5EF4-FFF2-40B4-BE49-F238E27FC236}">
                      <a16:creationId xmlns:a16="http://schemas.microsoft.com/office/drawing/2014/main" id="{C355AEB0-003B-41ED-AA1E-A73CDDE90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083573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     0    0    0	</a:t>
                  </a:r>
                  <a:endParaRPr lang="en-US" altLang="en-US" sz="2800"/>
                </a:p>
              </p:txBody>
            </p:sp>
            <p:sp>
              <p:nvSpPr>
                <p:cNvPr id="11307" name="Rechteck 129">
                  <a:extLst>
                    <a:ext uri="{FF2B5EF4-FFF2-40B4-BE49-F238E27FC236}">
                      <a16:creationId xmlns:a16="http://schemas.microsoft.com/office/drawing/2014/main" id="{341F03A7-C2F6-4AA6-B283-303A867816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7638" y="441133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  <p:sp>
              <p:nvSpPr>
                <p:cNvPr id="11308" name="Rechteck 130">
                  <a:extLst>
                    <a:ext uri="{FF2B5EF4-FFF2-40B4-BE49-F238E27FC236}">
                      <a16:creationId xmlns:a16="http://schemas.microsoft.com/office/drawing/2014/main" id="{C43FE425-CC0B-45E7-A4D5-A74B49E114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64309" y="4728680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      0    0	</a:t>
                  </a:r>
                  <a:endParaRPr lang="en-US" altLang="en-US" sz="2800"/>
                </a:p>
              </p:txBody>
            </p:sp>
            <p:sp>
              <p:nvSpPr>
                <p:cNvPr id="11309" name="Rechteck 131">
                  <a:extLst>
                    <a:ext uri="{FF2B5EF4-FFF2-40B4-BE49-F238E27FC236}">
                      <a16:creationId xmlns:a16="http://schemas.microsoft.com/office/drawing/2014/main" id="{F8E8C53F-E6FA-4FE7-B784-9DE85F37AB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0979" y="5062051"/>
                  <a:ext cx="2954655" cy="3795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600" baseline="-250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r>
                    <a:rPr lang="de-DE" altLang="en-US" sz="2800"/>
                    <a:t>0    0    0    0   0    0    0	</a:t>
                  </a:r>
                  <a:endParaRPr lang="en-US" altLang="en-US" sz="2800"/>
                </a:p>
              </p:txBody>
            </p:sp>
          </p:grpSp>
          <p:sp>
            <p:nvSpPr>
              <p:cNvPr id="11299" name="Textfeld 121">
                <a:extLst>
                  <a:ext uri="{FF2B5EF4-FFF2-40B4-BE49-F238E27FC236}">
                    <a16:creationId xmlns:a16="http://schemas.microsoft.com/office/drawing/2014/main" id="{65F65B2A-3734-40F6-97BD-2EE24E5FB6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01266" y="1456006"/>
                <a:ext cx="1174184" cy="359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algn="ctr"/>
                <a:r>
                  <a:rPr lang="de-DE" altLang="en-US" b="1"/>
                  <a:t>objectness</a:t>
                </a:r>
                <a:endParaRPr lang="en-US" altLang="en-US" b="1"/>
              </a:p>
            </p:txBody>
          </p:sp>
        </p:grpSp>
        <p:sp>
          <p:nvSpPr>
            <p:cNvPr id="11297" name="Rechteck 119">
              <a:extLst>
                <a:ext uri="{FF2B5EF4-FFF2-40B4-BE49-F238E27FC236}">
                  <a16:creationId xmlns:a16="http://schemas.microsoft.com/office/drawing/2014/main" id="{8DD74802-82DD-42BE-91E8-4EDF09A5A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1273" name="Rechteck 148">
            <a:extLst>
              <a:ext uri="{FF2B5EF4-FFF2-40B4-BE49-F238E27FC236}">
                <a16:creationId xmlns:a16="http://schemas.microsoft.com/office/drawing/2014/main" id="{F743C51D-5B5A-4CEA-BFE3-ADCC04CBD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4000" y="47942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4" name="Rechteck 149">
            <a:extLst>
              <a:ext uri="{FF2B5EF4-FFF2-40B4-BE49-F238E27FC236}">
                <a16:creationId xmlns:a16="http://schemas.microsoft.com/office/drawing/2014/main" id="{D78733CF-5C1D-4FEB-87AE-D4FBF0870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450" y="4800600"/>
            <a:ext cx="2379663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5" name="Rechteck 150">
            <a:extLst>
              <a:ext uri="{FF2B5EF4-FFF2-40B4-BE49-F238E27FC236}">
                <a16:creationId xmlns:a16="http://schemas.microsoft.com/office/drawing/2014/main" id="{EC51F9A3-757E-4A07-B02B-03F1AC33F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80060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1276" name="Rechteck 151">
            <a:extLst>
              <a:ext uri="{FF2B5EF4-FFF2-40B4-BE49-F238E27FC236}">
                <a16:creationId xmlns:a16="http://schemas.microsoft.com/office/drawing/2014/main" id="{14297847-29FD-4B24-8D6C-BCBBF2759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6863" y="4781550"/>
            <a:ext cx="2381250" cy="2324100"/>
          </a:xfrm>
          <a:prstGeom prst="rect">
            <a:avLst/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grpSp>
        <p:nvGrpSpPr>
          <p:cNvPr id="11277" name="Gruppieren 152">
            <a:extLst>
              <a:ext uri="{FF2B5EF4-FFF2-40B4-BE49-F238E27FC236}">
                <a16:creationId xmlns:a16="http://schemas.microsoft.com/office/drawing/2014/main" id="{781B3480-A398-4469-A363-2656FEA81956}"/>
              </a:ext>
            </a:extLst>
          </p:cNvPr>
          <p:cNvGrpSpPr>
            <a:grpSpLocks/>
          </p:cNvGrpSpPr>
          <p:nvPr/>
        </p:nvGrpSpPr>
        <p:grpSpPr bwMode="auto">
          <a:xfrm>
            <a:off x="100013" y="1473200"/>
            <a:ext cx="11761787" cy="2735263"/>
            <a:chOff x="902137" y="4295792"/>
            <a:chExt cx="11761871" cy="2735106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71B9902B-A15A-44E0-B819-016D0C163539}"/>
                </a:ext>
              </a:extLst>
            </p:cNvPr>
            <p:cNvGrpSpPr/>
            <p:nvPr/>
          </p:nvGrpSpPr>
          <p:grpSpPr>
            <a:xfrm>
              <a:off x="3122089" y="4295792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6" name="Gruppieren 275">
                <a:extLst>
                  <a:ext uri="{FF2B5EF4-FFF2-40B4-BE49-F238E27FC236}">
                    <a16:creationId xmlns:a16="http://schemas.microsoft.com/office/drawing/2014/main" id="{01B4E955-14E6-43C7-BEB9-9256EDF31ECD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278" name="Gruppieren 277">
                  <a:extLst>
                    <a:ext uri="{FF2B5EF4-FFF2-40B4-BE49-F238E27FC236}">
                      <a16:creationId xmlns:a16="http://schemas.microsoft.com/office/drawing/2014/main" id="{180E43AB-7F39-4146-AA6E-A94CB29DCDE0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0" name="Gruppieren 279">
                    <a:extLst>
                      <a:ext uri="{FF2B5EF4-FFF2-40B4-BE49-F238E27FC236}">
                        <a16:creationId xmlns:a16="http://schemas.microsoft.com/office/drawing/2014/main" id="{F526823C-A30A-42E2-8ED3-97AC07997D0F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2" name="Gruppieren 281">
                      <a:extLst>
                        <a:ext uri="{FF2B5EF4-FFF2-40B4-BE49-F238E27FC236}">
                          <a16:creationId xmlns:a16="http://schemas.microsoft.com/office/drawing/2014/main" id="{CC33E9DA-2102-4783-B2C1-4E2A0B682A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89" name="Gerader Verbinder 45">
                        <a:extLst>
                          <a:ext uri="{FF2B5EF4-FFF2-40B4-BE49-F238E27FC236}">
                            <a16:creationId xmlns:a16="http://schemas.microsoft.com/office/drawing/2014/main" id="{7AAB2336-2A8F-4328-AD67-E793F5FF6AE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0" name="Gerader Verbinder 46">
                        <a:extLst>
                          <a:ext uri="{FF2B5EF4-FFF2-40B4-BE49-F238E27FC236}">
                            <a16:creationId xmlns:a16="http://schemas.microsoft.com/office/drawing/2014/main" id="{88874EE2-DB79-4C09-8CCA-1B0F513F851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1" name="Gerader Verbinder 47">
                        <a:extLst>
                          <a:ext uri="{FF2B5EF4-FFF2-40B4-BE49-F238E27FC236}">
                            <a16:creationId xmlns:a16="http://schemas.microsoft.com/office/drawing/2014/main" id="{A0E80037-1222-43CC-A949-ADC77BD0C9D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8">
                        <a:extLst>
                          <a:ext uri="{FF2B5EF4-FFF2-40B4-BE49-F238E27FC236}">
                            <a16:creationId xmlns:a16="http://schemas.microsoft.com/office/drawing/2014/main" id="{F8013EE0-3619-4871-87C1-2323B591F40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9">
                        <a:extLst>
                          <a:ext uri="{FF2B5EF4-FFF2-40B4-BE49-F238E27FC236}">
                            <a16:creationId xmlns:a16="http://schemas.microsoft.com/office/drawing/2014/main" id="{0798C8C8-EDAC-4EE9-8F92-F9E3B5EBE1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50">
                        <a:extLst>
                          <a:ext uri="{FF2B5EF4-FFF2-40B4-BE49-F238E27FC236}">
                            <a16:creationId xmlns:a16="http://schemas.microsoft.com/office/drawing/2014/main" id="{A8F09A64-0EAB-4252-9DC7-8DDAD5963A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51">
                        <a:extLst>
                          <a:ext uri="{FF2B5EF4-FFF2-40B4-BE49-F238E27FC236}">
                            <a16:creationId xmlns:a16="http://schemas.microsoft.com/office/drawing/2014/main" id="{D76615B0-A5AF-4CDF-AAFC-81A0AD3C8F6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2">
                        <a:extLst>
                          <a:ext uri="{FF2B5EF4-FFF2-40B4-BE49-F238E27FC236}">
                            <a16:creationId xmlns:a16="http://schemas.microsoft.com/office/drawing/2014/main" id="{154710C1-76BE-48E1-BA7A-D0632CDC1BD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3">
                        <a:extLst>
                          <a:ext uri="{FF2B5EF4-FFF2-40B4-BE49-F238E27FC236}">
                            <a16:creationId xmlns:a16="http://schemas.microsoft.com/office/drawing/2014/main" id="{95A324C9-585D-4B0C-9F99-550BF627208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4">
                        <a:extLst>
                          <a:ext uri="{FF2B5EF4-FFF2-40B4-BE49-F238E27FC236}">
                            <a16:creationId xmlns:a16="http://schemas.microsoft.com/office/drawing/2014/main" id="{CA596109-04D9-468F-B613-A0EEBC08B8A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5">
                        <a:extLst>
                          <a:ext uri="{FF2B5EF4-FFF2-40B4-BE49-F238E27FC236}">
                            <a16:creationId xmlns:a16="http://schemas.microsoft.com/office/drawing/2014/main" id="{978B447E-ABC4-4093-A5F0-7E5FA7CDB19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6">
                        <a:extLst>
                          <a:ext uri="{FF2B5EF4-FFF2-40B4-BE49-F238E27FC236}">
                            <a16:creationId xmlns:a16="http://schemas.microsoft.com/office/drawing/2014/main" id="{BE7A8B3C-D62A-4213-91E9-86F4361753F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7">
                        <a:extLst>
                          <a:ext uri="{FF2B5EF4-FFF2-40B4-BE49-F238E27FC236}">
                            <a16:creationId xmlns:a16="http://schemas.microsoft.com/office/drawing/2014/main" id="{DB09852F-727F-4C52-A90A-F00B64B6D50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8">
                        <a:extLst>
                          <a:ext uri="{FF2B5EF4-FFF2-40B4-BE49-F238E27FC236}">
                            <a16:creationId xmlns:a16="http://schemas.microsoft.com/office/drawing/2014/main" id="{7B761348-EA67-49E8-B636-02BA2EFE4A4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9">
                        <a:extLst>
                          <a:ext uri="{FF2B5EF4-FFF2-40B4-BE49-F238E27FC236}">
                            <a16:creationId xmlns:a16="http://schemas.microsoft.com/office/drawing/2014/main" id="{D7E8D1B1-32B2-43F9-90BA-FC8B9684CA1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60">
                        <a:extLst>
                          <a:ext uri="{FF2B5EF4-FFF2-40B4-BE49-F238E27FC236}">
                            <a16:creationId xmlns:a16="http://schemas.microsoft.com/office/drawing/2014/main" id="{37C7D12A-0B9F-48CA-A19E-2CEA0830371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3" name="Textfeld 282">
                      <a:extLst>
                        <a:ext uri="{FF2B5EF4-FFF2-40B4-BE49-F238E27FC236}">
                          <a16:creationId xmlns:a16="http://schemas.microsoft.com/office/drawing/2014/main" id="{2A60C497-EA7E-4AF5-8A53-4AE0846C7F6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4" name="Rechteck 283">
                      <a:extLst>
                        <a:ext uri="{FF2B5EF4-FFF2-40B4-BE49-F238E27FC236}">
                          <a16:creationId xmlns:a16="http://schemas.microsoft.com/office/drawing/2014/main" id="{E128FA78-B111-4F5D-9775-B6F3F72C9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5" name="Rechteck 284">
                      <a:extLst>
                        <a:ext uri="{FF2B5EF4-FFF2-40B4-BE49-F238E27FC236}">
                          <a16:creationId xmlns:a16="http://schemas.microsoft.com/office/drawing/2014/main" id="{07DAF801-9822-4A3F-80AD-7121AE3F9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26C45C93-B0AD-4A4A-917A-0F00E8F7B3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15A7352F-6249-43E1-A953-FF47316205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95F10E6-AEA0-4F00-A165-981D750181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1" name="Rechteck 280">
                    <a:extLst>
                      <a:ext uri="{FF2B5EF4-FFF2-40B4-BE49-F238E27FC236}">
                        <a16:creationId xmlns:a16="http://schemas.microsoft.com/office/drawing/2014/main" id="{0787ACB5-E360-4D61-90E9-28A72C25548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540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4D763CB4-020D-4B4A-B235-45B8B2ECCCF1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28E275F0-1A05-4623-B671-37F7ADEBCDC2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5" name="Gruppieren 154">
              <a:extLst>
                <a:ext uri="{FF2B5EF4-FFF2-40B4-BE49-F238E27FC236}">
                  <a16:creationId xmlns:a16="http://schemas.microsoft.com/office/drawing/2014/main" id="{EA4717D5-A3EC-4A0E-8624-772BA3083751}"/>
                </a:ext>
              </a:extLst>
            </p:cNvPr>
            <p:cNvGrpSpPr/>
            <p:nvPr/>
          </p:nvGrpSpPr>
          <p:grpSpPr>
            <a:xfrm>
              <a:off x="5327482" y="4296535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47" name="Gruppieren 246">
                <a:extLst>
                  <a:ext uri="{FF2B5EF4-FFF2-40B4-BE49-F238E27FC236}">
                    <a16:creationId xmlns:a16="http://schemas.microsoft.com/office/drawing/2014/main" id="{EAF4A201-3702-4029-84E7-B8079E07BDB9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49" name="Gruppieren 248">
                  <a:extLst>
                    <a:ext uri="{FF2B5EF4-FFF2-40B4-BE49-F238E27FC236}">
                      <a16:creationId xmlns:a16="http://schemas.microsoft.com/office/drawing/2014/main" id="{9F6750A8-C315-441D-B119-6DA71C46F04C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51" name="Gruppieren 250">
                    <a:extLst>
                      <a:ext uri="{FF2B5EF4-FFF2-40B4-BE49-F238E27FC236}">
                        <a16:creationId xmlns:a16="http://schemas.microsoft.com/office/drawing/2014/main" id="{B266AA43-94C3-4EFA-80EF-14C3C7BC48C3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53" name="Gruppieren 252">
                      <a:extLst>
                        <a:ext uri="{FF2B5EF4-FFF2-40B4-BE49-F238E27FC236}">
                          <a16:creationId xmlns:a16="http://schemas.microsoft.com/office/drawing/2014/main" id="{7C88BC8A-1876-445C-8CE9-B4795FB088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60" name="Gerader Verbinder 45">
                        <a:extLst>
                          <a:ext uri="{FF2B5EF4-FFF2-40B4-BE49-F238E27FC236}">
                            <a16:creationId xmlns:a16="http://schemas.microsoft.com/office/drawing/2014/main" id="{EEF4C418-0C09-47D4-AFB8-0FFC9DB76D6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1" name="Gerader Verbinder 46">
                        <a:extLst>
                          <a:ext uri="{FF2B5EF4-FFF2-40B4-BE49-F238E27FC236}">
                            <a16:creationId xmlns:a16="http://schemas.microsoft.com/office/drawing/2014/main" id="{2E96AC3A-4767-44C3-87C6-04D2C0B6A12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2" name="Gerader Verbinder 47">
                        <a:extLst>
                          <a:ext uri="{FF2B5EF4-FFF2-40B4-BE49-F238E27FC236}">
                            <a16:creationId xmlns:a16="http://schemas.microsoft.com/office/drawing/2014/main" id="{107845BE-33C3-48B7-BA34-736613A454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3" name="Gerader Verbinder 48">
                        <a:extLst>
                          <a:ext uri="{FF2B5EF4-FFF2-40B4-BE49-F238E27FC236}">
                            <a16:creationId xmlns:a16="http://schemas.microsoft.com/office/drawing/2014/main" id="{8DDC9B3C-2DE4-4305-8362-B38A33679B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4" name="Gerader Verbinder 49">
                        <a:extLst>
                          <a:ext uri="{FF2B5EF4-FFF2-40B4-BE49-F238E27FC236}">
                            <a16:creationId xmlns:a16="http://schemas.microsoft.com/office/drawing/2014/main" id="{17F00851-214D-48E1-AB29-174811B111B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5" name="Gerader Verbinder 50">
                        <a:extLst>
                          <a:ext uri="{FF2B5EF4-FFF2-40B4-BE49-F238E27FC236}">
                            <a16:creationId xmlns:a16="http://schemas.microsoft.com/office/drawing/2014/main" id="{DE4B9E4B-1FD7-4EEF-AE40-4BA7A1E71B7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6" name="Gerader Verbinder 51">
                        <a:extLst>
                          <a:ext uri="{FF2B5EF4-FFF2-40B4-BE49-F238E27FC236}">
                            <a16:creationId xmlns:a16="http://schemas.microsoft.com/office/drawing/2014/main" id="{F9535EFC-271E-44A8-9E1F-FADD4310390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7" name="Gerader Verbinder 52">
                        <a:extLst>
                          <a:ext uri="{FF2B5EF4-FFF2-40B4-BE49-F238E27FC236}">
                            <a16:creationId xmlns:a16="http://schemas.microsoft.com/office/drawing/2014/main" id="{9FD52361-FD02-4A2B-8B44-258DCA8700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8" name="Gerader Verbinder 53">
                        <a:extLst>
                          <a:ext uri="{FF2B5EF4-FFF2-40B4-BE49-F238E27FC236}">
                            <a16:creationId xmlns:a16="http://schemas.microsoft.com/office/drawing/2014/main" id="{1C5DEC40-EEEC-443C-A245-70FA11F7DC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69" name="Gerader Verbinder 54">
                        <a:extLst>
                          <a:ext uri="{FF2B5EF4-FFF2-40B4-BE49-F238E27FC236}">
                            <a16:creationId xmlns:a16="http://schemas.microsoft.com/office/drawing/2014/main" id="{BB8F8144-87C6-40A3-8016-48B3B2DFE6E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0" name="Gerader Verbinder 55">
                        <a:extLst>
                          <a:ext uri="{FF2B5EF4-FFF2-40B4-BE49-F238E27FC236}">
                            <a16:creationId xmlns:a16="http://schemas.microsoft.com/office/drawing/2014/main" id="{9F7D7F59-77A4-47B6-B92E-43954CACDB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1" name="Gerader Verbinder 56">
                        <a:extLst>
                          <a:ext uri="{FF2B5EF4-FFF2-40B4-BE49-F238E27FC236}">
                            <a16:creationId xmlns:a16="http://schemas.microsoft.com/office/drawing/2014/main" id="{46240AD8-A47A-4E47-BCBD-24E52699CD7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2" name="Gerader Verbinder 57">
                        <a:extLst>
                          <a:ext uri="{FF2B5EF4-FFF2-40B4-BE49-F238E27FC236}">
                            <a16:creationId xmlns:a16="http://schemas.microsoft.com/office/drawing/2014/main" id="{6ED3124A-89EC-487D-9D52-570247E84E8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3" name="Gerader Verbinder 58">
                        <a:extLst>
                          <a:ext uri="{FF2B5EF4-FFF2-40B4-BE49-F238E27FC236}">
                            <a16:creationId xmlns:a16="http://schemas.microsoft.com/office/drawing/2014/main" id="{AEFB012A-A96F-4DAA-8E19-BDB0E58AE2D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4" name="Gerader Verbinder 59">
                        <a:extLst>
                          <a:ext uri="{FF2B5EF4-FFF2-40B4-BE49-F238E27FC236}">
                            <a16:creationId xmlns:a16="http://schemas.microsoft.com/office/drawing/2014/main" id="{53DF6722-733C-4843-B81F-76AE6215853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75" name="Gerader Verbinder 60">
                        <a:extLst>
                          <a:ext uri="{FF2B5EF4-FFF2-40B4-BE49-F238E27FC236}">
                            <a16:creationId xmlns:a16="http://schemas.microsoft.com/office/drawing/2014/main" id="{C9944BF5-E30E-4EF4-81AD-81C39A07CE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54" name="Textfeld 253">
                      <a:extLst>
                        <a:ext uri="{FF2B5EF4-FFF2-40B4-BE49-F238E27FC236}">
                          <a16:creationId xmlns:a16="http://schemas.microsoft.com/office/drawing/2014/main" id="{D3C03ECB-047F-4B1A-88EB-E128D47F50C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5" name="Rechteck 254">
                      <a:extLst>
                        <a:ext uri="{FF2B5EF4-FFF2-40B4-BE49-F238E27FC236}">
                          <a16:creationId xmlns:a16="http://schemas.microsoft.com/office/drawing/2014/main" id="{B47DBC48-83C4-46EA-B733-3C2FA4B73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6" name="Rechteck 255">
                      <a:extLst>
                        <a:ext uri="{FF2B5EF4-FFF2-40B4-BE49-F238E27FC236}">
                          <a16:creationId xmlns:a16="http://schemas.microsoft.com/office/drawing/2014/main" id="{3478A94A-495E-43F5-8D69-3D2A2E7B61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7" name="Rechteck 256">
                      <a:extLst>
                        <a:ext uri="{FF2B5EF4-FFF2-40B4-BE49-F238E27FC236}">
                          <a16:creationId xmlns:a16="http://schemas.microsoft.com/office/drawing/2014/main" id="{118AB7A2-9274-4EA5-93ED-BEA37C7EF3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8" name="Rechteck 257">
                      <a:extLst>
                        <a:ext uri="{FF2B5EF4-FFF2-40B4-BE49-F238E27FC236}">
                          <a16:creationId xmlns:a16="http://schemas.microsoft.com/office/drawing/2014/main" id="{D48AD4FD-045D-4B5F-9069-A81AAB893E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59" name="Rechteck 258">
                      <a:extLst>
                        <a:ext uri="{FF2B5EF4-FFF2-40B4-BE49-F238E27FC236}">
                          <a16:creationId xmlns:a16="http://schemas.microsoft.com/office/drawing/2014/main" id="{7956053C-870E-4E16-9A2C-3CF433973A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52" name="Rechteck 251">
                    <a:extLst>
                      <a:ext uri="{FF2B5EF4-FFF2-40B4-BE49-F238E27FC236}">
                        <a16:creationId xmlns:a16="http://schemas.microsoft.com/office/drawing/2014/main" id="{EC06D16E-E045-44BE-8492-A81A9CA91FD9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50" name="Textfeld 249">
                  <a:extLst>
                    <a:ext uri="{FF2B5EF4-FFF2-40B4-BE49-F238E27FC236}">
                      <a16:creationId xmlns:a16="http://schemas.microsoft.com/office/drawing/2014/main" id="{42BB7E7F-DC05-42CE-AB1B-14F07243C32A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248" name="Rechteck 247">
                <a:extLst>
                  <a:ext uri="{FF2B5EF4-FFF2-40B4-BE49-F238E27FC236}">
                    <a16:creationId xmlns:a16="http://schemas.microsoft.com/office/drawing/2014/main" id="{E99A4A3F-6122-477C-A490-EE23002509B5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313E5D1B-F3ED-42F2-90EA-34F6DB0AF91F}"/>
                </a:ext>
              </a:extLst>
            </p:cNvPr>
            <p:cNvGrpSpPr/>
            <p:nvPr/>
          </p:nvGrpSpPr>
          <p:grpSpPr>
            <a:xfrm>
              <a:off x="7513563" y="4299207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18" name="Gruppieren 217">
                <a:extLst>
                  <a:ext uri="{FF2B5EF4-FFF2-40B4-BE49-F238E27FC236}">
                    <a16:creationId xmlns:a16="http://schemas.microsoft.com/office/drawing/2014/main" id="{30F30D36-B23B-4CA8-811A-52F93BD44933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220" name="Gruppieren 219">
                  <a:extLst>
                    <a:ext uri="{FF2B5EF4-FFF2-40B4-BE49-F238E27FC236}">
                      <a16:creationId xmlns:a16="http://schemas.microsoft.com/office/drawing/2014/main" id="{B8FD517A-4E40-40A5-9488-CE9210511F59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22" name="Gruppieren 221">
                    <a:extLst>
                      <a:ext uri="{FF2B5EF4-FFF2-40B4-BE49-F238E27FC236}">
                        <a16:creationId xmlns:a16="http://schemas.microsoft.com/office/drawing/2014/main" id="{FC3B0156-4B50-430E-92DE-E42D0F28A6B5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24" name="Gruppieren 223">
                      <a:extLst>
                        <a:ext uri="{FF2B5EF4-FFF2-40B4-BE49-F238E27FC236}">
                          <a16:creationId xmlns:a16="http://schemas.microsoft.com/office/drawing/2014/main" id="{124E1650-DFE8-4853-86FB-CECA77BBE8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31" name="Gerader Verbinder 45">
                        <a:extLst>
                          <a:ext uri="{FF2B5EF4-FFF2-40B4-BE49-F238E27FC236}">
                            <a16:creationId xmlns:a16="http://schemas.microsoft.com/office/drawing/2014/main" id="{08A38037-55BE-4921-AC6F-AED813175DF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2" name="Gerader Verbinder 46">
                        <a:extLst>
                          <a:ext uri="{FF2B5EF4-FFF2-40B4-BE49-F238E27FC236}">
                            <a16:creationId xmlns:a16="http://schemas.microsoft.com/office/drawing/2014/main" id="{C4B9DF17-26CC-49DB-9F6B-97F54ACC11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3" name="Gerader Verbinder 47">
                        <a:extLst>
                          <a:ext uri="{FF2B5EF4-FFF2-40B4-BE49-F238E27FC236}">
                            <a16:creationId xmlns:a16="http://schemas.microsoft.com/office/drawing/2014/main" id="{1836AD64-D13B-4A5F-BE2E-FBFE685012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4" name="Gerader Verbinder 48">
                        <a:extLst>
                          <a:ext uri="{FF2B5EF4-FFF2-40B4-BE49-F238E27FC236}">
                            <a16:creationId xmlns:a16="http://schemas.microsoft.com/office/drawing/2014/main" id="{FA9302C6-3043-4455-8140-A2A174162DA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5" name="Gerader Verbinder 49">
                        <a:extLst>
                          <a:ext uri="{FF2B5EF4-FFF2-40B4-BE49-F238E27FC236}">
                            <a16:creationId xmlns:a16="http://schemas.microsoft.com/office/drawing/2014/main" id="{51DA2E55-DD5C-4F6A-B855-98923C10EA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6" name="Gerader Verbinder 50">
                        <a:extLst>
                          <a:ext uri="{FF2B5EF4-FFF2-40B4-BE49-F238E27FC236}">
                            <a16:creationId xmlns:a16="http://schemas.microsoft.com/office/drawing/2014/main" id="{B5CBF4C7-1E30-428F-95BB-210EEA1251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7" name="Gerader Verbinder 51">
                        <a:extLst>
                          <a:ext uri="{FF2B5EF4-FFF2-40B4-BE49-F238E27FC236}">
                            <a16:creationId xmlns:a16="http://schemas.microsoft.com/office/drawing/2014/main" id="{43A6B419-D301-4794-A2A0-E60CBA917FF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8" name="Gerader Verbinder 52">
                        <a:extLst>
                          <a:ext uri="{FF2B5EF4-FFF2-40B4-BE49-F238E27FC236}">
                            <a16:creationId xmlns:a16="http://schemas.microsoft.com/office/drawing/2014/main" id="{A6243F2C-519B-412E-AC8A-F2A729A4D1C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39" name="Gerader Verbinder 53">
                        <a:extLst>
                          <a:ext uri="{FF2B5EF4-FFF2-40B4-BE49-F238E27FC236}">
                            <a16:creationId xmlns:a16="http://schemas.microsoft.com/office/drawing/2014/main" id="{A37D48D3-5A3F-4199-AD87-A3DF8020264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0" name="Gerader Verbinder 54">
                        <a:extLst>
                          <a:ext uri="{FF2B5EF4-FFF2-40B4-BE49-F238E27FC236}">
                            <a16:creationId xmlns:a16="http://schemas.microsoft.com/office/drawing/2014/main" id="{A0454947-EAC9-46FF-B942-92631083360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1" name="Gerader Verbinder 55">
                        <a:extLst>
                          <a:ext uri="{FF2B5EF4-FFF2-40B4-BE49-F238E27FC236}">
                            <a16:creationId xmlns:a16="http://schemas.microsoft.com/office/drawing/2014/main" id="{7777E82D-D8E1-497D-A6E5-A003F700AEA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2" name="Gerader Verbinder 56">
                        <a:extLst>
                          <a:ext uri="{FF2B5EF4-FFF2-40B4-BE49-F238E27FC236}">
                            <a16:creationId xmlns:a16="http://schemas.microsoft.com/office/drawing/2014/main" id="{657E3683-B17B-460C-8F6A-80350D8A03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3" name="Gerader Verbinder 57">
                        <a:extLst>
                          <a:ext uri="{FF2B5EF4-FFF2-40B4-BE49-F238E27FC236}">
                            <a16:creationId xmlns:a16="http://schemas.microsoft.com/office/drawing/2014/main" id="{17706B3C-564B-4AB6-8929-1463236192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4" name="Gerader Verbinder 58">
                        <a:extLst>
                          <a:ext uri="{FF2B5EF4-FFF2-40B4-BE49-F238E27FC236}">
                            <a16:creationId xmlns:a16="http://schemas.microsoft.com/office/drawing/2014/main" id="{C713C937-96EF-48BD-85B9-4B1A5E2DFBC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5" name="Gerader Verbinder 59">
                        <a:extLst>
                          <a:ext uri="{FF2B5EF4-FFF2-40B4-BE49-F238E27FC236}">
                            <a16:creationId xmlns:a16="http://schemas.microsoft.com/office/drawing/2014/main" id="{9560B4E7-E6F7-4F91-A4F5-154A320E2C5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46" name="Gerader Verbinder 60">
                        <a:extLst>
                          <a:ext uri="{FF2B5EF4-FFF2-40B4-BE49-F238E27FC236}">
                            <a16:creationId xmlns:a16="http://schemas.microsoft.com/office/drawing/2014/main" id="{0B243F70-4131-4B1C-AA11-3A77290D9B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25" name="Textfeld 224">
                      <a:extLst>
                        <a:ext uri="{FF2B5EF4-FFF2-40B4-BE49-F238E27FC236}">
                          <a16:creationId xmlns:a16="http://schemas.microsoft.com/office/drawing/2014/main" id="{4459EB14-F893-4969-B6B9-B413974C0F5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6" name="Rechteck 225">
                      <a:extLst>
                        <a:ext uri="{FF2B5EF4-FFF2-40B4-BE49-F238E27FC236}">
                          <a16:creationId xmlns:a16="http://schemas.microsoft.com/office/drawing/2014/main" id="{85B37F90-6ED7-4E6E-A0D9-5A205A6C27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7" name="Rechteck 226">
                      <a:extLst>
                        <a:ext uri="{FF2B5EF4-FFF2-40B4-BE49-F238E27FC236}">
                          <a16:creationId xmlns:a16="http://schemas.microsoft.com/office/drawing/2014/main" id="{6105A698-9FED-4A10-AECA-E4EBD68E6A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8" name="Rechteck 227">
                      <a:extLst>
                        <a:ext uri="{FF2B5EF4-FFF2-40B4-BE49-F238E27FC236}">
                          <a16:creationId xmlns:a16="http://schemas.microsoft.com/office/drawing/2014/main" id="{CA34AF64-FBB0-4604-9FC1-D7B6CC800E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29" name="Rechteck 228">
                      <a:extLst>
                        <a:ext uri="{FF2B5EF4-FFF2-40B4-BE49-F238E27FC236}">
                          <a16:creationId xmlns:a16="http://schemas.microsoft.com/office/drawing/2014/main" id="{F89CC399-8AEF-4562-8231-D04FF50945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30" name="Rechteck 229">
                      <a:extLst>
                        <a:ext uri="{FF2B5EF4-FFF2-40B4-BE49-F238E27FC236}">
                          <a16:creationId xmlns:a16="http://schemas.microsoft.com/office/drawing/2014/main" id="{2CFDD87A-BAE0-4308-9CA8-AAC0655314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23" name="Rechteck 222">
                    <a:extLst>
                      <a:ext uri="{FF2B5EF4-FFF2-40B4-BE49-F238E27FC236}">
                        <a16:creationId xmlns:a16="http://schemas.microsoft.com/office/drawing/2014/main" id="{C176BB0E-4AB6-4EFC-90FD-C02B12DBF6FF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21" name="Textfeld 220">
                  <a:extLst>
                    <a:ext uri="{FF2B5EF4-FFF2-40B4-BE49-F238E27FC236}">
                      <a16:creationId xmlns:a16="http://schemas.microsoft.com/office/drawing/2014/main" id="{0014A9D3-2C7C-42D4-B30D-1526DA21B9AF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219" name="Rechteck 218">
                <a:extLst>
                  <a:ext uri="{FF2B5EF4-FFF2-40B4-BE49-F238E27FC236}">
                    <a16:creationId xmlns:a16="http://schemas.microsoft.com/office/drawing/2014/main" id="{71FF12E2-B6B8-47B8-A07A-B0CC3B7CA9D6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BE050D15-7A06-4AE3-9B7C-7AB98BD10FB6}"/>
                </a:ext>
              </a:extLst>
            </p:cNvPr>
            <p:cNvGrpSpPr/>
            <p:nvPr/>
          </p:nvGrpSpPr>
          <p:grpSpPr>
            <a:xfrm>
              <a:off x="9696011" y="4301340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189" name="Gruppieren 188">
                <a:extLst>
                  <a:ext uri="{FF2B5EF4-FFF2-40B4-BE49-F238E27FC236}">
                    <a16:creationId xmlns:a16="http://schemas.microsoft.com/office/drawing/2014/main" id="{51A68DDA-366D-46C2-B068-2BA78315909C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191" name="Gruppieren 190">
                  <a:extLst>
                    <a:ext uri="{FF2B5EF4-FFF2-40B4-BE49-F238E27FC236}">
                      <a16:creationId xmlns:a16="http://schemas.microsoft.com/office/drawing/2014/main" id="{3B0345E8-AB5F-4923-A990-C214DD109182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93" name="Gruppieren 192">
                    <a:extLst>
                      <a:ext uri="{FF2B5EF4-FFF2-40B4-BE49-F238E27FC236}">
                        <a16:creationId xmlns:a16="http://schemas.microsoft.com/office/drawing/2014/main" id="{3DE573AD-53FB-41F2-ACED-893FA1FFCA26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95" name="Gruppieren 194">
                      <a:extLst>
                        <a:ext uri="{FF2B5EF4-FFF2-40B4-BE49-F238E27FC236}">
                          <a16:creationId xmlns:a16="http://schemas.microsoft.com/office/drawing/2014/main" id="{5D11B1C5-F4A7-4D25-B154-C91C4A2E62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02" name="Gerader Verbinder 45">
                        <a:extLst>
                          <a:ext uri="{FF2B5EF4-FFF2-40B4-BE49-F238E27FC236}">
                            <a16:creationId xmlns:a16="http://schemas.microsoft.com/office/drawing/2014/main" id="{FDDBE8F3-FE69-43A3-ADC4-1BBCC43C409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3" name="Gerader Verbinder 46">
                        <a:extLst>
                          <a:ext uri="{FF2B5EF4-FFF2-40B4-BE49-F238E27FC236}">
                            <a16:creationId xmlns:a16="http://schemas.microsoft.com/office/drawing/2014/main" id="{60055712-3610-427B-B860-5BC983B3FDB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4" name="Gerader Verbinder 47">
                        <a:extLst>
                          <a:ext uri="{FF2B5EF4-FFF2-40B4-BE49-F238E27FC236}">
                            <a16:creationId xmlns:a16="http://schemas.microsoft.com/office/drawing/2014/main" id="{7A2BD331-7CF2-41DD-9EB7-55D063355E4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5" name="Gerader Verbinder 48">
                        <a:extLst>
                          <a:ext uri="{FF2B5EF4-FFF2-40B4-BE49-F238E27FC236}">
                            <a16:creationId xmlns:a16="http://schemas.microsoft.com/office/drawing/2014/main" id="{51F483A5-3E73-4D70-ADF9-A66D80E08BA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6" name="Gerader Verbinder 49">
                        <a:extLst>
                          <a:ext uri="{FF2B5EF4-FFF2-40B4-BE49-F238E27FC236}">
                            <a16:creationId xmlns:a16="http://schemas.microsoft.com/office/drawing/2014/main" id="{00BC9398-9382-4515-95ED-8797262478A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7" name="Gerader Verbinder 50">
                        <a:extLst>
                          <a:ext uri="{FF2B5EF4-FFF2-40B4-BE49-F238E27FC236}">
                            <a16:creationId xmlns:a16="http://schemas.microsoft.com/office/drawing/2014/main" id="{386CC01F-948E-4D51-9CD7-AE739D4C9D6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8" name="Gerader Verbinder 51">
                        <a:extLst>
                          <a:ext uri="{FF2B5EF4-FFF2-40B4-BE49-F238E27FC236}">
                            <a16:creationId xmlns:a16="http://schemas.microsoft.com/office/drawing/2014/main" id="{F69290DA-B187-439D-ADAE-17210725208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09" name="Gerader Verbinder 52">
                        <a:extLst>
                          <a:ext uri="{FF2B5EF4-FFF2-40B4-BE49-F238E27FC236}">
                            <a16:creationId xmlns:a16="http://schemas.microsoft.com/office/drawing/2014/main" id="{C79543EA-87F1-4F0F-B399-61A7D9FBBE2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0" name="Gerader Verbinder 53">
                        <a:extLst>
                          <a:ext uri="{FF2B5EF4-FFF2-40B4-BE49-F238E27FC236}">
                            <a16:creationId xmlns:a16="http://schemas.microsoft.com/office/drawing/2014/main" id="{E985FEC4-5E73-4656-87E1-E23943509CE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1" name="Gerader Verbinder 54">
                        <a:extLst>
                          <a:ext uri="{FF2B5EF4-FFF2-40B4-BE49-F238E27FC236}">
                            <a16:creationId xmlns:a16="http://schemas.microsoft.com/office/drawing/2014/main" id="{0D182EC3-EA11-4DD2-993A-A6FDF4B0DEB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2" name="Gerader Verbinder 55">
                        <a:extLst>
                          <a:ext uri="{FF2B5EF4-FFF2-40B4-BE49-F238E27FC236}">
                            <a16:creationId xmlns:a16="http://schemas.microsoft.com/office/drawing/2014/main" id="{DF2DBAC7-56C9-4239-AD84-45E3B76288B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3" name="Gerader Verbinder 56">
                        <a:extLst>
                          <a:ext uri="{FF2B5EF4-FFF2-40B4-BE49-F238E27FC236}">
                            <a16:creationId xmlns:a16="http://schemas.microsoft.com/office/drawing/2014/main" id="{51740D69-A5FB-49B0-8A37-2BEBB2F8CB1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4" name="Gerader Verbinder 57">
                        <a:extLst>
                          <a:ext uri="{FF2B5EF4-FFF2-40B4-BE49-F238E27FC236}">
                            <a16:creationId xmlns:a16="http://schemas.microsoft.com/office/drawing/2014/main" id="{4C536C0D-3AC2-4E33-91C9-F6E337C8949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5" name="Gerader Verbinder 58">
                        <a:extLst>
                          <a:ext uri="{FF2B5EF4-FFF2-40B4-BE49-F238E27FC236}">
                            <a16:creationId xmlns:a16="http://schemas.microsoft.com/office/drawing/2014/main" id="{67DBF3F9-11CA-4642-84CF-E6290E0D176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6" name="Gerader Verbinder 59">
                        <a:extLst>
                          <a:ext uri="{FF2B5EF4-FFF2-40B4-BE49-F238E27FC236}">
                            <a16:creationId xmlns:a16="http://schemas.microsoft.com/office/drawing/2014/main" id="{770C0DE6-5FA2-45DF-B8FB-4C0274AD9E0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17" name="Gerader Verbinder 60">
                        <a:extLst>
                          <a:ext uri="{FF2B5EF4-FFF2-40B4-BE49-F238E27FC236}">
                            <a16:creationId xmlns:a16="http://schemas.microsoft.com/office/drawing/2014/main" id="{B74BC84B-0D60-45F6-8401-301B12E4661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96" name="Textfeld 195">
                      <a:extLst>
                        <a:ext uri="{FF2B5EF4-FFF2-40B4-BE49-F238E27FC236}">
                          <a16:creationId xmlns:a16="http://schemas.microsoft.com/office/drawing/2014/main" id="{6E7795A4-A051-4C28-9FA4-32CA31998F3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7" name="Rechteck 196">
                      <a:extLst>
                        <a:ext uri="{FF2B5EF4-FFF2-40B4-BE49-F238E27FC236}">
                          <a16:creationId xmlns:a16="http://schemas.microsoft.com/office/drawing/2014/main" id="{E45057DD-44B4-49FF-9265-2EE77E23B7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8" name="Rechteck 197">
                      <a:extLst>
                        <a:ext uri="{FF2B5EF4-FFF2-40B4-BE49-F238E27FC236}">
                          <a16:creationId xmlns:a16="http://schemas.microsoft.com/office/drawing/2014/main" id="{0122598C-4FD1-46EB-B985-9084E68AC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99" name="Rechteck 198">
                      <a:extLst>
                        <a:ext uri="{FF2B5EF4-FFF2-40B4-BE49-F238E27FC236}">
                          <a16:creationId xmlns:a16="http://schemas.microsoft.com/office/drawing/2014/main" id="{1A4E5223-9209-4E38-9812-3643B008F6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0" name="Rechteck 199">
                      <a:extLst>
                        <a:ext uri="{FF2B5EF4-FFF2-40B4-BE49-F238E27FC236}">
                          <a16:creationId xmlns:a16="http://schemas.microsoft.com/office/drawing/2014/main" id="{28152074-44B9-4CC4-AF10-68B12628D7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01" name="Rechteck 200">
                      <a:extLst>
                        <a:ext uri="{FF2B5EF4-FFF2-40B4-BE49-F238E27FC236}">
                          <a16:creationId xmlns:a16="http://schemas.microsoft.com/office/drawing/2014/main" id="{3AC5F7D9-F3B9-45AF-85FC-FE8DBF8361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94" name="Rechteck 193">
                    <a:extLst>
                      <a:ext uri="{FF2B5EF4-FFF2-40B4-BE49-F238E27FC236}">
                        <a16:creationId xmlns:a16="http://schemas.microsoft.com/office/drawing/2014/main" id="{5928137D-3B3B-4E95-A79A-38D62806C9A3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92" name="Textfeld 191">
                  <a:extLst>
                    <a:ext uri="{FF2B5EF4-FFF2-40B4-BE49-F238E27FC236}">
                      <a16:creationId xmlns:a16="http://schemas.microsoft.com/office/drawing/2014/main" id="{43099ED8-7D6B-45F3-8CA5-DD6885D92C7D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7E95E417-38C9-4272-9F7F-306AC0B146DF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158" name="Gruppieren 157">
              <a:extLst>
                <a:ext uri="{FF2B5EF4-FFF2-40B4-BE49-F238E27FC236}">
                  <a16:creationId xmlns:a16="http://schemas.microsoft.com/office/drawing/2014/main" id="{8910CB5A-E9B1-444B-9D74-BB88F4918183}"/>
                </a:ext>
              </a:extLst>
            </p:cNvPr>
            <p:cNvGrpSpPr/>
            <p:nvPr/>
          </p:nvGrpSpPr>
          <p:grpSpPr>
            <a:xfrm>
              <a:off x="902137" y="4304498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159" name="Gruppieren 158">
                <a:extLst>
                  <a:ext uri="{FF2B5EF4-FFF2-40B4-BE49-F238E27FC236}">
                    <a16:creationId xmlns:a16="http://schemas.microsoft.com/office/drawing/2014/main" id="{6D4A25BE-5195-4921-AB7F-9C072B0BCED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161" name="Gruppieren 160">
                  <a:extLst>
                    <a:ext uri="{FF2B5EF4-FFF2-40B4-BE49-F238E27FC236}">
                      <a16:creationId xmlns:a16="http://schemas.microsoft.com/office/drawing/2014/main" id="{AD8922CD-3AEE-4C0E-A5DF-6946F2A07E63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163" name="Gruppieren 162">
                    <a:extLst>
                      <a:ext uri="{FF2B5EF4-FFF2-40B4-BE49-F238E27FC236}">
                        <a16:creationId xmlns:a16="http://schemas.microsoft.com/office/drawing/2014/main" id="{73B8B600-15C8-48FB-B953-F1CFF797D89A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173" name="Gerader Verbinder 45">
                      <a:extLst>
                        <a:ext uri="{FF2B5EF4-FFF2-40B4-BE49-F238E27FC236}">
                          <a16:creationId xmlns:a16="http://schemas.microsoft.com/office/drawing/2014/main" id="{D09D7584-B2F7-4903-83E7-B2C3ADF73EF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4" name="Gerader Verbinder 46">
                      <a:extLst>
                        <a:ext uri="{FF2B5EF4-FFF2-40B4-BE49-F238E27FC236}">
                          <a16:creationId xmlns:a16="http://schemas.microsoft.com/office/drawing/2014/main" id="{56DF446A-ECDA-42A4-9972-B51006ED5AC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5" name="Gerader Verbinder 47">
                      <a:extLst>
                        <a:ext uri="{FF2B5EF4-FFF2-40B4-BE49-F238E27FC236}">
                          <a16:creationId xmlns:a16="http://schemas.microsoft.com/office/drawing/2014/main" id="{804FCC2E-7E9B-4EC0-B483-D17DA407C9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6" name="Gerader Verbinder 48">
                      <a:extLst>
                        <a:ext uri="{FF2B5EF4-FFF2-40B4-BE49-F238E27FC236}">
                          <a16:creationId xmlns:a16="http://schemas.microsoft.com/office/drawing/2014/main" id="{97B229EB-F711-4745-B7B1-08954ADC028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7" name="Gerader Verbinder 49">
                      <a:extLst>
                        <a:ext uri="{FF2B5EF4-FFF2-40B4-BE49-F238E27FC236}">
                          <a16:creationId xmlns:a16="http://schemas.microsoft.com/office/drawing/2014/main" id="{9C1A662F-B7DC-4A8F-8E50-D7E53355074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8" name="Gerader Verbinder 50">
                      <a:extLst>
                        <a:ext uri="{FF2B5EF4-FFF2-40B4-BE49-F238E27FC236}">
                          <a16:creationId xmlns:a16="http://schemas.microsoft.com/office/drawing/2014/main" id="{FA8A13EB-E90B-4E1A-962F-5A8D8314A1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79" name="Gerader Verbinder 51">
                      <a:extLst>
                        <a:ext uri="{FF2B5EF4-FFF2-40B4-BE49-F238E27FC236}">
                          <a16:creationId xmlns:a16="http://schemas.microsoft.com/office/drawing/2014/main" id="{1C69CCCB-6AA8-4CAB-9D2A-D73A75BF219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0" name="Gerader Verbinder 52">
                      <a:extLst>
                        <a:ext uri="{FF2B5EF4-FFF2-40B4-BE49-F238E27FC236}">
                          <a16:creationId xmlns:a16="http://schemas.microsoft.com/office/drawing/2014/main" id="{FC8B83FF-8A9C-432D-96FD-B894F13AD68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1" name="Gerader Verbinder 53">
                      <a:extLst>
                        <a:ext uri="{FF2B5EF4-FFF2-40B4-BE49-F238E27FC236}">
                          <a16:creationId xmlns:a16="http://schemas.microsoft.com/office/drawing/2014/main" id="{6446782B-D87F-4E66-BBAB-6BF4B75DD2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2" name="Gerader Verbinder 54">
                      <a:extLst>
                        <a:ext uri="{FF2B5EF4-FFF2-40B4-BE49-F238E27FC236}">
                          <a16:creationId xmlns:a16="http://schemas.microsoft.com/office/drawing/2014/main" id="{674B739B-154B-4993-830B-8D84BEEBF1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3" name="Gerader Verbinder 55">
                      <a:extLst>
                        <a:ext uri="{FF2B5EF4-FFF2-40B4-BE49-F238E27FC236}">
                          <a16:creationId xmlns:a16="http://schemas.microsoft.com/office/drawing/2014/main" id="{55C0C17D-85C8-4E20-B7FD-333B6DF269B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4" name="Gerader Verbinder 56">
                      <a:extLst>
                        <a:ext uri="{FF2B5EF4-FFF2-40B4-BE49-F238E27FC236}">
                          <a16:creationId xmlns:a16="http://schemas.microsoft.com/office/drawing/2014/main" id="{2D071E1B-97F8-451E-9D24-E08709E39E0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5" name="Gerader Verbinder 57">
                      <a:extLst>
                        <a:ext uri="{FF2B5EF4-FFF2-40B4-BE49-F238E27FC236}">
                          <a16:creationId xmlns:a16="http://schemas.microsoft.com/office/drawing/2014/main" id="{7EBD23DD-24F9-42B1-920C-57C034DEA5E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6" name="Gerader Verbinder 58">
                      <a:extLst>
                        <a:ext uri="{FF2B5EF4-FFF2-40B4-BE49-F238E27FC236}">
                          <a16:creationId xmlns:a16="http://schemas.microsoft.com/office/drawing/2014/main" id="{89E7545A-8A14-4B12-8278-DF716B6103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7" name="Gerader Verbinder 59">
                      <a:extLst>
                        <a:ext uri="{FF2B5EF4-FFF2-40B4-BE49-F238E27FC236}">
                          <a16:creationId xmlns:a16="http://schemas.microsoft.com/office/drawing/2014/main" id="{3016C0D0-3B98-4455-8DD4-30F9B6B6C8B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188" name="Gerader Verbinder 60">
                      <a:extLst>
                        <a:ext uri="{FF2B5EF4-FFF2-40B4-BE49-F238E27FC236}">
                          <a16:creationId xmlns:a16="http://schemas.microsoft.com/office/drawing/2014/main" id="{30F0756B-78DC-443A-A119-187DDA21929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164" name="Textfeld 163">
                    <a:extLst>
                      <a:ext uri="{FF2B5EF4-FFF2-40B4-BE49-F238E27FC236}">
                        <a16:creationId xmlns:a16="http://schemas.microsoft.com/office/drawing/2014/main" id="{8C123ED3-E457-4AE2-8C8B-34FBBDAB3B5E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5" name="Textfeld 164">
                    <a:extLst>
                      <a:ext uri="{FF2B5EF4-FFF2-40B4-BE49-F238E27FC236}">
                        <a16:creationId xmlns:a16="http://schemas.microsoft.com/office/drawing/2014/main" id="{DD2DE484-BD91-4812-BA61-50D1BF45B274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66" name="Textfeld 165">
                    <a:extLst>
                      <a:ext uri="{FF2B5EF4-FFF2-40B4-BE49-F238E27FC236}">
                        <a16:creationId xmlns:a16="http://schemas.microsoft.com/office/drawing/2014/main" id="{1D982DCA-2EE9-43B0-B42C-39D512D03525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7" name="Rechteck 166">
                    <a:extLst>
                      <a:ext uri="{FF2B5EF4-FFF2-40B4-BE49-F238E27FC236}">
                        <a16:creationId xmlns:a16="http://schemas.microsoft.com/office/drawing/2014/main" id="{9EDEF595-C0CD-40A8-BD5B-8C2364AFBEE5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8" name="Rechteck 167">
                    <a:extLst>
                      <a:ext uri="{FF2B5EF4-FFF2-40B4-BE49-F238E27FC236}">
                        <a16:creationId xmlns:a16="http://schemas.microsoft.com/office/drawing/2014/main" id="{80A832BE-26BA-4147-B0CB-443747E8565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54A2F5E6-E849-4FB7-BA03-379A39B8D4E7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170" name="Rechteck 169">
                    <a:extLst>
                      <a:ext uri="{FF2B5EF4-FFF2-40B4-BE49-F238E27FC236}">
                        <a16:creationId xmlns:a16="http://schemas.microsoft.com/office/drawing/2014/main" id="{50326E41-3881-4B6A-8540-FA74039DAEB5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171" name="Rechteck 170">
                    <a:extLst>
                      <a:ext uri="{FF2B5EF4-FFF2-40B4-BE49-F238E27FC236}">
                        <a16:creationId xmlns:a16="http://schemas.microsoft.com/office/drawing/2014/main" id="{F275AD0C-F331-49B7-B862-5A8AE017AA78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172" name="Rechteck 171">
                    <a:extLst>
                      <a:ext uri="{FF2B5EF4-FFF2-40B4-BE49-F238E27FC236}">
                        <a16:creationId xmlns:a16="http://schemas.microsoft.com/office/drawing/2014/main" id="{1F0CD400-87F5-4EFB-B99A-8C17888B0602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162" name="Textfeld 161">
                  <a:extLst>
                    <a:ext uri="{FF2B5EF4-FFF2-40B4-BE49-F238E27FC236}">
                      <a16:creationId xmlns:a16="http://schemas.microsoft.com/office/drawing/2014/main" id="{659A7770-17A8-4E60-948F-D5F35F7EB104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160" name="Rechteck 159">
                <a:extLst>
                  <a:ext uri="{FF2B5EF4-FFF2-40B4-BE49-F238E27FC236}">
                    <a16:creationId xmlns:a16="http://schemas.microsoft.com/office/drawing/2014/main" id="{B56D11BF-3FE1-41F7-9768-B6A023E6B641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78" name="Grafik 304">
            <a:extLst>
              <a:ext uri="{FF2B5EF4-FFF2-40B4-BE49-F238E27FC236}">
                <a16:creationId xmlns:a16="http://schemas.microsoft.com/office/drawing/2014/main" id="{2609F904-23B2-4020-8142-DB9C0173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775" y="879475"/>
            <a:ext cx="776288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79" name="Gruppieren 305">
            <a:extLst>
              <a:ext uri="{FF2B5EF4-FFF2-40B4-BE49-F238E27FC236}">
                <a16:creationId xmlns:a16="http://schemas.microsoft.com/office/drawing/2014/main" id="{23964C42-9919-4772-8422-6141F3530674}"/>
              </a:ext>
            </a:extLst>
          </p:cNvPr>
          <p:cNvGrpSpPr>
            <a:grpSpLocks/>
          </p:cNvGrpSpPr>
          <p:nvPr/>
        </p:nvGrpSpPr>
        <p:grpSpPr bwMode="auto">
          <a:xfrm>
            <a:off x="11811000" y="998538"/>
            <a:ext cx="846138" cy="676275"/>
            <a:chOff x="3878170" y="917672"/>
            <a:chExt cx="5718810" cy="3099723"/>
          </a:xfrm>
        </p:grpSpPr>
        <p:pic>
          <p:nvPicPr>
            <p:cNvPr id="11289" name="Grafik 306">
              <a:extLst>
                <a:ext uri="{FF2B5EF4-FFF2-40B4-BE49-F238E27FC236}">
                  <a16:creationId xmlns:a16="http://schemas.microsoft.com/office/drawing/2014/main" id="{719A6041-803D-472E-82F7-C474EEDFF4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170" y="1741221"/>
              <a:ext cx="5718807" cy="227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0" name="Grafik 307">
              <a:extLst>
                <a:ext uri="{FF2B5EF4-FFF2-40B4-BE49-F238E27FC236}">
                  <a16:creationId xmlns:a16="http://schemas.microsoft.com/office/drawing/2014/main" id="{05246788-6FBC-48D1-B239-D25C5A6AB1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037" y="917672"/>
              <a:ext cx="5708943" cy="825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280" name="Gruppieren 352">
            <a:extLst>
              <a:ext uri="{FF2B5EF4-FFF2-40B4-BE49-F238E27FC236}">
                <a16:creationId xmlns:a16="http://schemas.microsoft.com/office/drawing/2014/main" id="{9BBA8360-D9C9-4FBD-860D-EDC116BC3985}"/>
              </a:ext>
            </a:extLst>
          </p:cNvPr>
          <p:cNvGrpSpPr>
            <a:grpSpLocks/>
          </p:cNvGrpSpPr>
          <p:nvPr/>
        </p:nvGrpSpPr>
        <p:grpSpPr bwMode="auto">
          <a:xfrm>
            <a:off x="5253038" y="147638"/>
            <a:ext cx="1870075" cy="1801812"/>
            <a:chOff x="5252618" y="148271"/>
            <a:chExt cx="1871152" cy="1800655"/>
          </a:xfrm>
        </p:grpSpPr>
        <p:grpSp>
          <p:nvGrpSpPr>
            <p:cNvPr id="11282" name="Gruppieren 321">
              <a:extLst>
                <a:ext uri="{FF2B5EF4-FFF2-40B4-BE49-F238E27FC236}">
                  <a16:creationId xmlns:a16="http://schemas.microsoft.com/office/drawing/2014/main" id="{C87B424C-B802-4FA8-8549-2A5F6E289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06793" y="323918"/>
              <a:ext cx="1716977" cy="1625008"/>
              <a:chOff x="11826777" y="4221508"/>
              <a:chExt cx="1716977" cy="1625008"/>
            </a:xfrm>
          </p:grpSpPr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A09DAB79-B4CE-46DF-A633-213BE21FC25B}"/>
                  </a:ext>
                </a:extLst>
              </p:cNvPr>
              <p:cNvSpPr txBox="1"/>
              <p:nvPr/>
            </p:nvSpPr>
            <p:spPr>
              <a:xfrm>
                <a:off x="12480667" y="5644988"/>
                <a:ext cx="703098" cy="201528"/>
              </a:xfrm>
              <a:prstGeom prst="rect">
                <a:avLst/>
              </a:prstGeom>
              <a:noFill/>
              <a:scene3d>
                <a:camera prst="isometricLeftDown">
                  <a:rot lat="0" lon="0" rev="0"/>
                </a:camera>
                <a:lightRig rig="threePt" dir="t"/>
              </a:scene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endParaRPr lang="en-US" b="1" dirty="0"/>
              </a:p>
            </p:txBody>
          </p:sp>
          <p:sp>
            <p:nvSpPr>
              <p:cNvPr id="318" name="Rechteck 317">
                <a:extLst>
                  <a:ext uri="{FF2B5EF4-FFF2-40B4-BE49-F238E27FC236}">
                    <a16:creationId xmlns:a16="http://schemas.microsoft.com/office/drawing/2014/main" id="{4238BF96-B2A2-48BB-BCA7-BAE1E868C934}"/>
                  </a:ext>
                </a:extLst>
              </p:cNvPr>
              <p:cNvSpPr/>
              <p:nvPr/>
            </p:nvSpPr>
            <p:spPr bwMode="auto">
              <a:xfrm>
                <a:off x="11826777" y="4221508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19" name="Rechteck 318">
                <a:extLst>
                  <a:ext uri="{FF2B5EF4-FFF2-40B4-BE49-F238E27FC236}">
                    <a16:creationId xmlns:a16="http://schemas.microsoft.com/office/drawing/2014/main" id="{3C79011B-1A1F-45AF-8C43-F3C382AA38FC}"/>
                  </a:ext>
                </a:extLst>
              </p:cNvPr>
              <p:cNvSpPr/>
              <p:nvPr/>
            </p:nvSpPr>
            <p:spPr bwMode="auto">
              <a:xfrm>
                <a:off x="11936558" y="4234231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0" name="Rechteck 319">
                <a:extLst>
                  <a:ext uri="{FF2B5EF4-FFF2-40B4-BE49-F238E27FC236}">
                    <a16:creationId xmlns:a16="http://schemas.microsoft.com/office/drawing/2014/main" id="{4D9E5CC2-4E05-4E11-8C5C-17A6AB7EB0BB}"/>
                  </a:ext>
                </a:extLst>
              </p:cNvPr>
              <p:cNvSpPr/>
              <p:nvPr/>
            </p:nvSpPr>
            <p:spPr bwMode="auto">
              <a:xfrm>
                <a:off x="12030271" y="4226256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  <p:sp>
            <p:nvSpPr>
              <p:cNvPr id="321" name="Rechteck 320">
                <a:extLst>
                  <a:ext uri="{FF2B5EF4-FFF2-40B4-BE49-F238E27FC236}">
                    <a16:creationId xmlns:a16="http://schemas.microsoft.com/office/drawing/2014/main" id="{20B60A35-A96C-493D-99E0-FAC479B1219B}"/>
                  </a:ext>
                </a:extLst>
              </p:cNvPr>
              <p:cNvSpPr/>
              <p:nvPr/>
            </p:nvSpPr>
            <p:spPr bwMode="auto">
              <a:xfrm>
                <a:off x="12118167" y="4233283"/>
                <a:ext cx="1425587" cy="1304308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LeftDown">
                  <a:rot lat="1800000" lon="4200000" rev="0"/>
                </a:camera>
                <a:lightRig rig="threePt" dir="t"/>
              </a:scene3d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23" name="Gruppieren 322">
              <a:extLst>
                <a:ext uri="{FF2B5EF4-FFF2-40B4-BE49-F238E27FC236}">
                  <a16:creationId xmlns:a16="http://schemas.microsoft.com/office/drawing/2014/main" id="{2DEA889D-EB5B-40D6-93B6-2F45D1306068}"/>
                </a:ext>
              </a:extLst>
            </p:cNvPr>
            <p:cNvGrpSpPr/>
            <p:nvPr/>
          </p:nvGrpSpPr>
          <p:grpSpPr>
            <a:xfrm>
              <a:off x="5252618" y="148271"/>
              <a:ext cx="1514111" cy="1526494"/>
              <a:chOff x="207572" y="4405181"/>
              <a:chExt cx="2528587" cy="2719832"/>
            </a:xfrm>
            <a:scene3d>
              <a:camera prst="isometricLeftDown">
                <a:rot lat="1800000" lon="4200000" rev="0"/>
              </a:camera>
              <a:lightRig rig="threePt" dir="t"/>
            </a:scene3d>
          </p:grpSpPr>
          <p:grpSp>
            <p:nvGrpSpPr>
              <p:cNvPr id="324" name="Gruppieren 323">
                <a:extLst>
                  <a:ext uri="{FF2B5EF4-FFF2-40B4-BE49-F238E27FC236}">
                    <a16:creationId xmlns:a16="http://schemas.microsoft.com/office/drawing/2014/main" id="{42FA8D05-97A6-4D15-AB34-946FE746AB9E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528587" cy="2719832"/>
                <a:chOff x="5092857" y="1456006"/>
                <a:chExt cx="2528587" cy="2719832"/>
              </a:xfrm>
            </p:grpSpPr>
            <p:grpSp>
              <p:nvGrpSpPr>
                <p:cNvPr id="326" name="Gruppieren 325">
                  <a:extLst>
                    <a:ext uri="{FF2B5EF4-FFF2-40B4-BE49-F238E27FC236}">
                      <a16:creationId xmlns:a16="http://schemas.microsoft.com/office/drawing/2014/main" id="{DB1B7802-23C7-4148-9471-CE942A67E330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528587" cy="2414969"/>
                  <a:chOff x="5357638" y="3096117"/>
                  <a:chExt cx="2528587" cy="2414969"/>
                </a:xfrm>
              </p:grpSpPr>
              <p:grpSp>
                <p:nvGrpSpPr>
                  <p:cNvPr id="328" name="Gruppieren 327">
                    <a:extLst>
                      <a:ext uri="{FF2B5EF4-FFF2-40B4-BE49-F238E27FC236}">
                        <a16:creationId xmlns:a16="http://schemas.microsoft.com/office/drawing/2014/main" id="{28331967-CE7C-43A7-B23F-D514B5740EBC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337" name="Gerader Verbinder 45">
                      <a:extLst>
                        <a:ext uri="{FF2B5EF4-FFF2-40B4-BE49-F238E27FC236}">
                          <a16:creationId xmlns:a16="http://schemas.microsoft.com/office/drawing/2014/main" id="{E8D68D46-684C-4690-9A64-67CC5593A3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8" name="Gerader Verbinder 46">
                      <a:extLst>
                        <a:ext uri="{FF2B5EF4-FFF2-40B4-BE49-F238E27FC236}">
                          <a16:creationId xmlns:a16="http://schemas.microsoft.com/office/drawing/2014/main" id="{BA0CBA72-FD71-4635-9730-B6A0BA97ECC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39" name="Gerader Verbinder 47">
                      <a:extLst>
                        <a:ext uri="{FF2B5EF4-FFF2-40B4-BE49-F238E27FC236}">
                          <a16:creationId xmlns:a16="http://schemas.microsoft.com/office/drawing/2014/main" id="{289CA4BF-7C17-445F-9DDE-06D742686D7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0" name="Gerader Verbinder 48">
                      <a:extLst>
                        <a:ext uri="{FF2B5EF4-FFF2-40B4-BE49-F238E27FC236}">
                          <a16:creationId xmlns:a16="http://schemas.microsoft.com/office/drawing/2014/main" id="{5CD095E6-60A4-4216-A447-4A8A217E10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1" name="Gerader Verbinder 49">
                      <a:extLst>
                        <a:ext uri="{FF2B5EF4-FFF2-40B4-BE49-F238E27FC236}">
                          <a16:creationId xmlns:a16="http://schemas.microsoft.com/office/drawing/2014/main" id="{7EF10EA7-F780-4A83-911B-956DBCF06F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2" name="Gerader Verbinder 50">
                      <a:extLst>
                        <a:ext uri="{FF2B5EF4-FFF2-40B4-BE49-F238E27FC236}">
                          <a16:creationId xmlns:a16="http://schemas.microsoft.com/office/drawing/2014/main" id="{A1EDA3ED-4B09-41A2-BD29-B5F8309BB37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3" name="Gerader Verbinder 51">
                      <a:extLst>
                        <a:ext uri="{FF2B5EF4-FFF2-40B4-BE49-F238E27FC236}">
                          <a16:creationId xmlns:a16="http://schemas.microsoft.com/office/drawing/2014/main" id="{547A90CB-D052-4AAF-B2F0-A53E1728C85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4" name="Gerader Verbinder 52">
                      <a:extLst>
                        <a:ext uri="{FF2B5EF4-FFF2-40B4-BE49-F238E27FC236}">
                          <a16:creationId xmlns:a16="http://schemas.microsoft.com/office/drawing/2014/main" id="{334778CC-7C13-4EB2-AC33-B0E84F2B83B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5" name="Gerader Verbinder 53">
                      <a:extLst>
                        <a:ext uri="{FF2B5EF4-FFF2-40B4-BE49-F238E27FC236}">
                          <a16:creationId xmlns:a16="http://schemas.microsoft.com/office/drawing/2014/main" id="{79B8AD24-DA75-4247-B02A-899BFDD39D9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6" name="Gerader Verbinder 54">
                      <a:extLst>
                        <a:ext uri="{FF2B5EF4-FFF2-40B4-BE49-F238E27FC236}">
                          <a16:creationId xmlns:a16="http://schemas.microsoft.com/office/drawing/2014/main" id="{496CE205-2D24-47C3-9FA6-124B5829615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7" name="Gerader Verbinder 55">
                      <a:extLst>
                        <a:ext uri="{FF2B5EF4-FFF2-40B4-BE49-F238E27FC236}">
                          <a16:creationId xmlns:a16="http://schemas.microsoft.com/office/drawing/2014/main" id="{05B55EDE-4345-4DD6-AE74-F27E701D96B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8" name="Gerader Verbinder 56">
                      <a:extLst>
                        <a:ext uri="{FF2B5EF4-FFF2-40B4-BE49-F238E27FC236}">
                          <a16:creationId xmlns:a16="http://schemas.microsoft.com/office/drawing/2014/main" id="{6058AF2A-4573-49BB-93CE-47FD944500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49" name="Gerader Verbinder 57">
                      <a:extLst>
                        <a:ext uri="{FF2B5EF4-FFF2-40B4-BE49-F238E27FC236}">
                          <a16:creationId xmlns:a16="http://schemas.microsoft.com/office/drawing/2014/main" id="{1179E592-B009-4A15-8882-C8EFB45D05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0" name="Gerader Verbinder 58">
                      <a:extLst>
                        <a:ext uri="{FF2B5EF4-FFF2-40B4-BE49-F238E27FC236}">
                          <a16:creationId xmlns:a16="http://schemas.microsoft.com/office/drawing/2014/main" id="{1E2D3E34-4CAA-469B-95E2-2DF48D75CB5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1" name="Gerader Verbinder 59">
                      <a:extLst>
                        <a:ext uri="{FF2B5EF4-FFF2-40B4-BE49-F238E27FC236}">
                          <a16:creationId xmlns:a16="http://schemas.microsoft.com/office/drawing/2014/main" id="{7BF8FD6F-2840-4A3C-A19E-BF7640A2567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352" name="Gerader Verbinder 60">
                      <a:extLst>
                        <a:ext uri="{FF2B5EF4-FFF2-40B4-BE49-F238E27FC236}">
                          <a16:creationId xmlns:a16="http://schemas.microsoft.com/office/drawing/2014/main" id="{991921B9-99F9-46BE-BB1F-4A4AE0E658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329" name="Textfeld 328">
                    <a:extLst>
                      <a:ext uri="{FF2B5EF4-FFF2-40B4-BE49-F238E27FC236}">
                        <a16:creationId xmlns:a16="http://schemas.microsoft.com/office/drawing/2014/main" id="{6230BEF9-8A57-4FD0-A28A-DF2E0CC65517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330" name="Textfeld 329">
                    <a:extLst>
                      <a:ext uri="{FF2B5EF4-FFF2-40B4-BE49-F238E27FC236}">
                        <a16:creationId xmlns:a16="http://schemas.microsoft.com/office/drawing/2014/main" id="{A590929A-3ACD-4E48-9D70-C5D2971E3899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1" name="Rechteck 330">
                    <a:extLst>
                      <a:ext uri="{FF2B5EF4-FFF2-40B4-BE49-F238E27FC236}">
                        <a16:creationId xmlns:a16="http://schemas.microsoft.com/office/drawing/2014/main" id="{D5BC75D0-D250-4D37-8BEC-7CF4200BDB28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2" name="Rechteck 331">
                    <a:extLst>
                      <a:ext uri="{FF2B5EF4-FFF2-40B4-BE49-F238E27FC236}">
                        <a16:creationId xmlns:a16="http://schemas.microsoft.com/office/drawing/2014/main" id="{FBD897AF-A24A-44F4-B151-A3A11527F190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3" name="Rechteck 332">
                    <a:extLst>
                      <a:ext uri="{FF2B5EF4-FFF2-40B4-BE49-F238E27FC236}">
                        <a16:creationId xmlns:a16="http://schemas.microsoft.com/office/drawing/2014/main" id="{61D013D0-A0C8-4824-8FCD-578D973107D0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4" name="Rechteck 333">
                    <a:extLst>
                      <a:ext uri="{FF2B5EF4-FFF2-40B4-BE49-F238E27FC236}">
                        <a16:creationId xmlns:a16="http://schemas.microsoft.com/office/drawing/2014/main" id="{E6D78566-4E49-4539-A69F-F9E039199638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5" name="Rechteck 334">
                    <a:extLst>
                      <a:ext uri="{FF2B5EF4-FFF2-40B4-BE49-F238E27FC236}">
                        <a16:creationId xmlns:a16="http://schemas.microsoft.com/office/drawing/2014/main" id="{2E20D0D3-67B4-4017-984D-29040AA38924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  <p:sp>
                <p:nvSpPr>
                  <p:cNvPr id="336" name="Rechteck 335">
                    <a:extLst>
                      <a:ext uri="{FF2B5EF4-FFF2-40B4-BE49-F238E27FC236}">
                        <a16:creationId xmlns:a16="http://schemas.microsoft.com/office/drawing/2014/main" id="{5833F30C-C338-405B-8002-6145CF4DC1C9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184731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endParaRPr lang="en-US" sz="2800" dirty="0"/>
                  </a:p>
                </p:txBody>
              </p:sp>
            </p:grpSp>
            <p:sp>
              <p:nvSpPr>
                <p:cNvPr id="327" name="Textfeld 326">
                  <a:extLst>
                    <a:ext uri="{FF2B5EF4-FFF2-40B4-BE49-F238E27FC236}">
                      <a16:creationId xmlns:a16="http://schemas.microsoft.com/office/drawing/2014/main" id="{50209C8B-4611-464E-9A73-8753C88E112B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endParaRPr lang="en-US" b="1" dirty="0"/>
                </a:p>
              </p:txBody>
            </p:sp>
          </p:grpSp>
          <p:sp>
            <p:nvSpPr>
              <p:cNvPr id="325" name="Rechteck 324">
                <a:extLst>
                  <a:ext uri="{FF2B5EF4-FFF2-40B4-BE49-F238E27FC236}">
                    <a16:creationId xmlns:a16="http://schemas.microsoft.com/office/drawing/2014/main" id="{B974DD04-8A90-45EF-A1B8-26BAF456AA38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</p:grpSp>
      <p:pic>
        <p:nvPicPr>
          <p:cNvPr id="11281" name="Grafik 353">
            <a:extLst>
              <a:ext uri="{FF2B5EF4-FFF2-40B4-BE49-F238E27FC236}">
                <a16:creationId xmlns:a16="http://schemas.microsoft.com/office/drawing/2014/main" id="{76E23599-275B-4231-8BA6-21257B9B9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7325" y="2089150"/>
            <a:ext cx="1354138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1">
            <a:extLst>
              <a:ext uri="{FF2B5EF4-FFF2-40B4-BE49-F238E27FC236}">
                <a16:creationId xmlns:a16="http://schemas.microsoft.com/office/drawing/2014/main" id="{CCED77C9-F0A5-4209-B3DF-5C869BA9A2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1 Problem Statement</a:t>
            </a:r>
            <a:endParaRPr lang="en-US" altLang="en-US"/>
          </a:p>
        </p:txBody>
      </p:sp>
      <p:sp>
        <p:nvSpPr>
          <p:cNvPr id="7171" name="Inhaltsplatzhalter 2">
            <a:extLst>
              <a:ext uri="{FF2B5EF4-FFF2-40B4-BE49-F238E27FC236}">
                <a16:creationId xmlns:a16="http://schemas.microsoft.com/office/drawing/2014/main" id="{3CCE7474-5973-48E9-BF48-0AC9A082A313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/>
          </a:p>
          <a:p>
            <a:endParaRPr lang="de-DE" altLang="en-US">
              <a:cs typeface="Times New Roman" panose="02020603050405020304" pitchFamily="18" charset="0"/>
            </a:endParaRPr>
          </a:p>
          <a:p>
            <a:r>
              <a:rPr lang="de-DE" altLang="en-US" b="1">
                <a:cs typeface="Times New Roman" panose="02020603050405020304" pitchFamily="18" charset="0"/>
              </a:rPr>
              <a:t>Our goal: </a:t>
            </a:r>
            <a:r>
              <a:rPr lang="de-DE" altLang="en-US">
                <a:cs typeface="Times New Roman" panose="02020603050405020304" pitchFamily="18" charset="0"/>
              </a:rPr>
              <a:t>Implement a YOLO object detector from scratch</a:t>
            </a:r>
          </a:p>
          <a:p>
            <a:endParaRPr lang="de-DE" altLang="en-US" b="1">
              <a:cs typeface="Times New Roman" panose="02020603050405020304" pitchFamily="18" charset="0"/>
            </a:endParaRPr>
          </a:p>
          <a:p>
            <a:r>
              <a:rPr lang="de-DE" altLang="en-US" b="1">
                <a:cs typeface="Times New Roman" panose="02020603050405020304" pitchFamily="18" charset="0"/>
              </a:rPr>
              <a:t>Dataset:</a:t>
            </a:r>
            <a:r>
              <a:rPr lang="de-DE" altLang="en-US">
                <a:cs typeface="Times New Roman" panose="02020603050405020304" pitchFamily="18" charset="0"/>
              </a:rPr>
              <a:t>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>
                <a:cs typeface="Times New Roman" panose="02020603050405020304" pitchFamily="18" charset="0"/>
              </a:rPr>
              <a:t>~23000 images from 3 video sequen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>
                <a:cs typeface="Times New Roman" panose="02020603050405020304" pitchFamily="18" charset="0"/>
              </a:rPr>
              <a:t>bounding box labels from csv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en-US">
                <a:cs typeface="Times New Roman" panose="02020603050405020304" pitchFamily="18" charset="0"/>
              </a:rPr>
              <a:t>Challenge: Objects barely distinguishable from background</a:t>
            </a:r>
          </a:p>
          <a:p>
            <a:endParaRPr lang="de-DE" altLang="en-US"/>
          </a:p>
          <a:p>
            <a:endParaRPr lang="en-US" altLang="en-US"/>
          </a:p>
          <a:p>
            <a:endParaRPr lang="en-US" altLang="en-US"/>
          </a:p>
        </p:txBody>
      </p:sp>
      <p:sp>
        <p:nvSpPr>
          <p:cNvPr id="7172" name="Fußzeilenplatzhalter 3">
            <a:extLst>
              <a:ext uri="{FF2B5EF4-FFF2-40B4-BE49-F238E27FC236}">
                <a16:creationId xmlns:a16="http://schemas.microsoft.com/office/drawing/2014/main" id="{C0443939-69EA-41CA-BF3E-037FC021FCB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7173" name="Inhaltsplatzhalter 2">
            <a:extLst>
              <a:ext uri="{FF2B5EF4-FFF2-40B4-BE49-F238E27FC236}">
                <a16:creationId xmlns:a16="http://schemas.microsoft.com/office/drawing/2014/main" id="{11E8A966-DE66-46D5-AC30-9A57E9B9B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1019175"/>
            <a:ext cx="12292012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Grafik 3">
            <a:extLst>
              <a:ext uri="{FF2B5EF4-FFF2-40B4-BE49-F238E27FC236}">
                <a16:creationId xmlns:a16="http://schemas.microsoft.com/office/drawing/2014/main" id="{10E6D1EA-0A27-4258-B540-F018C58AF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613" y="3060700"/>
            <a:ext cx="18415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Rechteck 12">
            <a:extLst>
              <a:ext uri="{FF2B5EF4-FFF2-40B4-BE49-F238E27FC236}">
                <a16:creationId xmlns:a16="http://schemas.microsoft.com/office/drawing/2014/main" id="{00B38BC5-FCA1-4778-873E-1452DE250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3683000"/>
            <a:ext cx="50387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/>
              <a:t>https://www.kaggle.com/c/tensorflow-great-barrier-reef/overview/description</a:t>
            </a:r>
          </a:p>
        </p:txBody>
      </p:sp>
      <p:pic>
        <p:nvPicPr>
          <p:cNvPr id="7176" name="Grafik 7">
            <a:extLst>
              <a:ext uri="{FF2B5EF4-FFF2-40B4-BE49-F238E27FC236}">
                <a16:creationId xmlns:a16="http://schemas.microsoft.com/office/drawing/2014/main" id="{46DE2353-3700-44EA-8330-F35277D40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7488" y="4356100"/>
            <a:ext cx="3662362" cy="205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7" name="Rechteck 8">
            <a:extLst>
              <a:ext uri="{FF2B5EF4-FFF2-40B4-BE49-F238E27FC236}">
                <a16:creationId xmlns:a16="http://schemas.microsoft.com/office/drawing/2014/main" id="{F370D267-3749-4B91-A5DF-7CCF4294F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1450" y="6378575"/>
            <a:ext cx="3724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682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6511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9388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80975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700">
                <a:latin typeface="Times New Roman" panose="02020603050405020304" pitchFamily="18" charset="0"/>
              </a:rPr>
              <a:t>https://www.google.com/url?sa=i&amp;url=https%3A%2F%2Fblog.tensorflow.org%2F2021%2F11%2Fannouncing-tensorflows-kaggle-challenge.html&amp;psig=AOvVaw3pZWcfWwVYD7HMyphUNG62&amp;ust=1643789767389000&amp;source=images&amp;cd=vfe&amp;ved=0CAsQjRxqFwoTCNCrpJ6I3vUCFQAAAAAdAAAAABAJ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>
            <a:extLst>
              <a:ext uri="{FF2B5EF4-FFF2-40B4-BE49-F238E27FC236}">
                <a16:creationId xmlns:a16="http://schemas.microsoft.com/office/drawing/2014/main" id="{BF958DF1-B945-4487-B5B9-F5069926FFA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dirty="0"/>
              <a:t>1 Problem Statement</a:t>
            </a:r>
            <a:endParaRPr lang="en-US" altLang="en-US" dirty="0"/>
          </a:p>
        </p:txBody>
      </p:sp>
      <p:pic>
        <p:nvPicPr>
          <p:cNvPr id="8195" name="Inhaltsplatzhalter 9">
            <a:extLst>
              <a:ext uri="{FF2B5EF4-FFF2-40B4-BE49-F238E27FC236}">
                <a16:creationId xmlns:a16="http://schemas.microsoft.com/office/drawing/2014/main" id="{F6AF00DE-E689-4138-9FD4-22D02CA08E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7838" y="855663"/>
            <a:ext cx="10990262" cy="6181725"/>
          </a:xfrm>
        </p:spPr>
      </p:pic>
      <p:sp>
        <p:nvSpPr>
          <p:cNvPr id="8196" name="Fußzeilenplatzhalter 3">
            <a:extLst>
              <a:ext uri="{FF2B5EF4-FFF2-40B4-BE49-F238E27FC236}">
                <a16:creationId xmlns:a16="http://schemas.microsoft.com/office/drawing/2014/main" id="{14C12266-E23E-4F8A-BCBF-9E614B8798F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F15457B3-6D05-4531-AA0B-B287DD154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5713" y="3795713"/>
            <a:ext cx="1079500" cy="827087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  <p:sp>
        <p:nvSpPr>
          <p:cNvPr id="16" name="Rechteck 9">
            <a:extLst>
              <a:ext uri="{FF2B5EF4-FFF2-40B4-BE49-F238E27FC236}">
                <a16:creationId xmlns:a16="http://schemas.microsoft.com/office/drawing/2014/main" id="{64231092-635C-4332-B68A-0F6F2CF93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25" y="5416550"/>
            <a:ext cx="865188" cy="596900"/>
          </a:xfrm>
          <a:prstGeom prst="rect">
            <a:avLst/>
          </a:prstGeom>
          <a:noFill/>
          <a:ln w="2540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6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>
            <a:extLst>
              <a:ext uri="{FF2B5EF4-FFF2-40B4-BE49-F238E27FC236}">
                <a16:creationId xmlns:a16="http://schemas.microsoft.com/office/drawing/2014/main" id="{8C09969B-0CA7-4B75-B65E-7373534AF1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2 Our YOLO Architecture</a:t>
            </a:r>
          </a:p>
        </p:txBody>
      </p:sp>
      <p:sp>
        <p:nvSpPr>
          <p:cNvPr id="9219" name="Fußzeilenplatzhalter 3">
            <a:extLst>
              <a:ext uri="{FF2B5EF4-FFF2-40B4-BE49-F238E27FC236}">
                <a16:creationId xmlns:a16="http://schemas.microsoft.com/office/drawing/2014/main" id="{B95C4A43-4FD9-40AD-8FA4-7F5373D19F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7369C2D-FB7C-46C6-9B15-91D0B5C3523C}"/>
              </a:ext>
            </a:extLst>
          </p:cNvPr>
          <p:cNvGrpSpPr>
            <a:grpSpLocks/>
          </p:cNvGrpSpPr>
          <p:nvPr/>
        </p:nvGrpSpPr>
        <p:grpSpPr bwMode="auto">
          <a:xfrm>
            <a:off x="10212388" y="987425"/>
            <a:ext cx="2293937" cy="2441575"/>
            <a:chOff x="468313" y="1189038"/>
            <a:chExt cx="4873625" cy="4873625"/>
          </a:xfrm>
        </p:grpSpPr>
        <p:pic>
          <p:nvPicPr>
            <p:cNvPr id="9268" name="Grafik 4">
              <a:extLst>
                <a:ext uri="{FF2B5EF4-FFF2-40B4-BE49-F238E27FC236}">
                  <a16:creationId xmlns:a16="http://schemas.microsoft.com/office/drawing/2014/main" id="{8783CF4B-9D23-4B28-91D3-3BD0E49BB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4" r="2731"/>
            <a:stretch>
              <a:fillRect/>
            </a:stretch>
          </p:blipFill>
          <p:spPr bwMode="auto">
            <a:xfrm>
              <a:off x="468313" y="1200150"/>
              <a:ext cx="4873625" cy="4862513"/>
            </a:xfrm>
            <a:prstGeom prst="rect">
              <a:avLst/>
            </a:prstGeom>
            <a:noFill/>
            <a:ln w="9525">
              <a:solidFill>
                <a:srgbClr val="FFC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269" name="Gerader Verbinder 7">
              <a:extLst>
                <a:ext uri="{FF2B5EF4-FFF2-40B4-BE49-F238E27FC236}">
                  <a16:creationId xmlns:a16="http://schemas.microsoft.com/office/drawing/2014/main" id="{4C6019C0-2F34-4BC5-8D1A-FAD925DAD5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636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0" name="Gerader Verbinder 13">
              <a:extLst>
                <a:ext uri="{FF2B5EF4-FFF2-40B4-BE49-F238E27FC236}">
                  <a16:creationId xmlns:a16="http://schemas.microsoft.com/office/drawing/2014/main" id="{2C088112-665E-4BAD-AF00-1B68948D711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589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1" name="Gerader Verbinder 14">
              <a:extLst>
                <a:ext uri="{FF2B5EF4-FFF2-40B4-BE49-F238E27FC236}">
                  <a16:creationId xmlns:a16="http://schemas.microsoft.com/office/drawing/2014/main" id="{5154C7FD-3B5E-473D-8082-0321A2CB60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542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2" name="Gerader Verbinder 15">
              <a:extLst>
                <a:ext uri="{FF2B5EF4-FFF2-40B4-BE49-F238E27FC236}">
                  <a16:creationId xmlns:a16="http://schemas.microsoft.com/office/drawing/2014/main" id="{C6A7D091-FCD1-4BC7-B2AC-F4654B3FDBA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2496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3" name="Gerader Verbinder 16">
              <a:extLst>
                <a:ext uri="{FF2B5EF4-FFF2-40B4-BE49-F238E27FC236}">
                  <a16:creationId xmlns:a16="http://schemas.microsoft.com/office/drawing/2014/main" id="{2E3A094D-92B8-49B7-ABDE-1C769BDC64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4493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4" name="Gerader Verbinder 17">
              <a:extLst>
                <a:ext uri="{FF2B5EF4-FFF2-40B4-BE49-F238E27FC236}">
                  <a16:creationId xmlns:a16="http://schemas.microsoft.com/office/drawing/2014/main" id="{5E81CD45-BBC4-46BA-94E4-EBB47714BC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4026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5" name="Gerader Verbinder 18">
              <a:extLst>
                <a:ext uri="{FF2B5EF4-FFF2-40B4-BE49-F238E27FC236}">
                  <a16:creationId xmlns:a16="http://schemas.microsoft.com/office/drawing/2014/main" id="{DD035EE5-14BF-4F96-8383-96422E674F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35588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6" name="Gerader Verbinder 19">
              <a:extLst>
                <a:ext uri="{FF2B5EF4-FFF2-40B4-BE49-F238E27FC236}">
                  <a16:creationId xmlns:a16="http://schemas.microsoft.com/office/drawing/2014/main" id="{C3DCC2D2-073C-4B6E-A49E-7E84CD4072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189038"/>
              <a:ext cx="0" cy="4873625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7" name="Gerader Verbinder 20">
              <a:extLst>
                <a:ext uri="{FF2B5EF4-FFF2-40B4-BE49-F238E27FC236}">
                  <a16:creationId xmlns:a16="http://schemas.microsoft.com/office/drawing/2014/main" id="{31D1E22A-A5B0-4F69-B040-E6FF55A410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200150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8" name="Gerader Verbinder 21">
              <a:extLst>
                <a:ext uri="{FF2B5EF4-FFF2-40B4-BE49-F238E27FC236}">
                  <a16:creationId xmlns:a16="http://schemas.microsoft.com/office/drawing/2014/main" id="{8D50C3C1-0341-43EE-8960-A9D4F0D169D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18938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79" name="Gerader Verbinder 22">
              <a:extLst>
                <a:ext uri="{FF2B5EF4-FFF2-40B4-BE49-F238E27FC236}">
                  <a16:creationId xmlns:a16="http://schemas.microsoft.com/office/drawing/2014/main" id="{9249EFB6-866F-4045-8170-05C8E66008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25876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0" name="Gerader Verbinder 23">
              <a:extLst>
                <a:ext uri="{FF2B5EF4-FFF2-40B4-BE49-F238E27FC236}">
                  <a16:creationId xmlns:a16="http://schemas.microsoft.com/office/drawing/2014/main" id="{E25CC2EF-8201-43F6-8177-F5923AA7DE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282950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1" name="Gerader Verbinder 24">
              <a:extLst>
                <a:ext uri="{FF2B5EF4-FFF2-40B4-BE49-F238E27FC236}">
                  <a16:creationId xmlns:a16="http://schemas.microsoft.com/office/drawing/2014/main" id="{1F587D3B-524A-4604-87B5-1183ADD038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3976688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2" name="Gerader Verbinder 25">
              <a:extLst>
                <a:ext uri="{FF2B5EF4-FFF2-40B4-BE49-F238E27FC236}">
                  <a16:creationId xmlns:a16="http://schemas.microsoft.com/office/drawing/2014/main" id="{C2A43198-7BE8-4FF8-BA3D-DC5888748F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4670425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3" name="Gerader Verbinder 26">
              <a:extLst>
                <a:ext uri="{FF2B5EF4-FFF2-40B4-BE49-F238E27FC236}">
                  <a16:creationId xmlns:a16="http://schemas.microsoft.com/office/drawing/2014/main" id="{664F4CDF-00DA-4C5F-BA35-2D14919BD96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6059488"/>
              <a:ext cx="4873625" cy="0"/>
            </a:xfrm>
            <a:prstGeom prst="line">
              <a:avLst/>
            </a:prstGeom>
            <a:noFill/>
            <a:ln w="254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4" name="Gerader Verbinder 27">
              <a:extLst>
                <a:ext uri="{FF2B5EF4-FFF2-40B4-BE49-F238E27FC236}">
                  <a16:creationId xmlns:a16="http://schemas.microsoft.com/office/drawing/2014/main" id="{35524E35-7C5E-46E6-BFD3-A47C58B6C5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3" y="5364163"/>
              <a:ext cx="4873625" cy="0"/>
            </a:xfrm>
            <a:prstGeom prst="line">
              <a:avLst/>
            </a:prstGeom>
            <a:noFill/>
            <a:ln w="25400" algn="ctr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285" name="Rechteck 9">
              <a:extLst>
                <a:ext uri="{FF2B5EF4-FFF2-40B4-BE49-F238E27FC236}">
                  <a16:creationId xmlns:a16="http://schemas.microsoft.com/office/drawing/2014/main" id="{88C23252-618E-4022-AFC8-A7AFEE5BE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0300" y="3636963"/>
              <a:ext cx="669925" cy="495300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  <p:sp>
          <p:nvSpPr>
            <p:cNvPr id="9286" name="Rechteck 93">
              <a:extLst>
                <a:ext uri="{FF2B5EF4-FFF2-40B4-BE49-F238E27FC236}">
                  <a16:creationId xmlns:a16="http://schemas.microsoft.com/office/drawing/2014/main" id="{ACEBAB93-D845-46BE-9D11-1BC05480E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3575" y="5027613"/>
              <a:ext cx="657225" cy="458787"/>
            </a:xfrm>
            <a:prstGeom prst="rect">
              <a:avLst/>
            </a:prstGeom>
            <a:noFill/>
            <a:ln w="25400" algn="ctr">
              <a:solidFill>
                <a:srgbClr val="FF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8214" name="Rechteck 8213">
            <a:extLst>
              <a:ext uri="{FF2B5EF4-FFF2-40B4-BE49-F238E27FC236}">
                <a16:creationId xmlns:a16="http://schemas.microsoft.com/office/drawing/2014/main" id="{AD54914C-95F7-429C-971B-20B98112DD00}"/>
              </a:ext>
            </a:extLst>
          </p:cNvPr>
          <p:cNvSpPr/>
          <p:nvPr/>
        </p:nvSpPr>
        <p:spPr bwMode="auto">
          <a:xfrm>
            <a:off x="1432242" y="1331957"/>
            <a:ext cx="1901220" cy="194117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635000" contourW="6350">
            <a:extrusionClr>
              <a:schemeClr val="bg1"/>
            </a:extrusionClr>
            <a:contourClr>
              <a:schemeClr val="bg1">
                <a:lumMod val="65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 dirty="0"/>
          </a:p>
        </p:txBody>
      </p:sp>
      <p:pic>
        <p:nvPicPr>
          <p:cNvPr id="475" name="Grafik 4">
            <a:extLst>
              <a:ext uri="{FF2B5EF4-FFF2-40B4-BE49-F238E27FC236}">
                <a16:creationId xmlns:a16="http://schemas.microsoft.com/office/drawing/2014/main" id="{0AF3C552-4581-47AF-AB01-2040DABFE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" r="2731"/>
          <a:stretch>
            <a:fillRect/>
          </a:stretch>
        </p:blipFill>
        <p:spPr bwMode="auto">
          <a:xfrm>
            <a:off x="-104459" y="1332209"/>
            <a:ext cx="1901220" cy="1950273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scene3d>
            <a:camera prst="orthographicFront">
              <a:rot lat="1800000" lon="4200000" rev="0"/>
            </a:camera>
            <a:lightRig rig="threePt" dir="t"/>
          </a:scene3d>
          <a:sp3d contourW="12700">
            <a:extrusionClr>
              <a:schemeClr val="tx1"/>
            </a:extrusionClr>
            <a:contourClr>
              <a:schemeClr val="tx1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6" name="Gruppieren 475">
            <a:extLst>
              <a:ext uri="{FF2B5EF4-FFF2-40B4-BE49-F238E27FC236}">
                <a16:creationId xmlns:a16="http://schemas.microsoft.com/office/drawing/2014/main" id="{B6544194-7121-4025-A29C-6C3C71D8414F}"/>
              </a:ext>
            </a:extLst>
          </p:cNvPr>
          <p:cNvGrpSpPr/>
          <p:nvPr/>
        </p:nvGrpSpPr>
        <p:grpSpPr>
          <a:xfrm>
            <a:off x="3771834" y="1773031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77" name="Rechteck 476">
              <a:extLst>
                <a:ext uri="{FF2B5EF4-FFF2-40B4-BE49-F238E27FC236}">
                  <a16:creationId xmlns:a16="http://schemas.microsoft.com/office/drawing/2014/main" id="{B60FCD40-0089-44A8-AC27-052EFAC69EBA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D25AED1A-92CE-4768-9532-93C65BC8420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8224" name="Rechteck 8223">
            <a:extLst>
              <a:ext uri="{FF2B5EF4-FFF2-40B4-BE49-F238E27FC236}">
                <a16:creationId xmlns:a16="http://schemas.microsoft.com/office/drawing/2014/main" id="{3E533630-BBB8-498B-B5E9-37595717904E}"/>
              </a:ext>
            </a:extLst>
          </p:cNvPr>
          <p:cNvSpPr/>
          <p:nvPr/>
        </p:nvSpPr>
        <p:spPr bwMode="auto">
          <a:xfrm>
            <a:off x="5195950" y="1788237"/>
            <a:ext cx="1362810" cy="1301138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accent4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accent4">
                  <a:lumMod val="50000"/>
                  <a:lumOff val="5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800000" lon="4200000" rev="0"/>
            </a:camera>
            <a:lightRig rig="threePt" dir="t"/>
          </a:scene3d>
          <a:sp3d extrusionH="254000" contourW="12700">
            <a:extrusionClr>
              <a:schemeClr val="bg1"/>
            </a:extrusionClr>
            <a:contourClr>
              <a:schemeClr val="bg1">
                <a:lumMod val="50000"/>
              </a:schemeClr>
            </a:contourClr>
          </a:sp3d>
        </p:spPr>
        <p:txBody>
          <a:bodyPr/>
          <a:lstStyle/>
          <a:p>
            <a:pPr defTabSz="1008063">
              <a:defRPr/>
            </a:pPr>
            <a:endParaRPr lang="en-US"/>
          </a:p>
        </p:txBody>
      </p:sp>
      <p:grpSp>
        <p:nvGrpSpPr>
          <p:cNvPr id="489" name="Gruppieren 488">
            <a:extLst>
              <a:ext uri="{FF2B5EF4-FFF2-40B4-BE49-F238E27FC236}">
                <a16:creationId xmlns:a16="http://schemas.microsoft.com/office/drawing/2014/main" id="{B665B12C-9B2F-4188-9095-AF68451586E1}"/>
              </a:ext>
            </a:extLst>
          </p:cNvPr>
          <p:cNvGrpSpPr/>
          <p:nvPr/>
        </p:nvGrpSpPr>
        <p:grpSpPr>
          <a:xfrm>
            <a:off x="6688809" y="1704992"/>
            <a:ext cx="1315759" cy="1301138"/>
            <a:chOff x="4540986" y="1753957"/>
            <a:chExt cx="959725" cy="980216"/>
          </a:xfrm>
          <a:scene3d>
            <a:camera prst="orthographicFront">
              <a:rot lat="1800000" lon="4200000" rev="0"/>
            </a:camera>
            <a:lightRig rig="threePt" dir="t"/>
          </a:scene3d>
        </p:grpSpPr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C9644982-6874-427E-9A56-439209DFE717}"/>
                </a:ext>
              </a:extLst>
            </p:cNvPr>
            <p:cNvSpPr/>
            <p:nvPr/>
          </p:nvSpPr>
          <p:spPr bwMode="auto">
            <a:xfrm>
              <a:off x="4540986" y="1753957"/>
              <a:ext cx="959725" cy="980216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/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A57499A5-E9FC-41AB-937E-547EF5021252}"/>
                </a:ext>
              </a:extLst>
            </p:cNvPr>
            <p:cNvSpPr/>
            <p:nvPr/>
          </p:nvSpPr>
          <p:spPr bwMode="auto">
            <a:xfrm>
              <a:off x="4870899" y="2083819"/>
              <a:ext cx="299897" cy="290098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63500" contourW="6350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sp>
        <p:nvSpPr>
          <p:cNvPr id="499" name="Textfeld 498">
            <a:extLst>
              <a:ext uri="{FF2B5EF4-FFF2-40B4-BE49-F238E27FC236}">
                <a16:creationId xmlns:a16="http://schemas.microsoft.com/office/drawing/2014/main" id="{011041AC-6A16-46F8-86EA-6594A38457A9}"/>
              </a:ext>
            </a:extLst>
          </p:cNvPr>
          <p:cNvSpPr txBox="1"/>
          <p:nvPr/>
        </p:nvSpPr>
        <p:spPr>
          <a:xfrm>
            <a:off x="7395711" y="3924813"/>
            <a:ext cx="201889" cy="213044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501" name="Rechteck 500">
            <a:extLst>
              <a:ext uri="{FF2B5EF4-FFF2-40B4-BE49-F238E27FC236}">
                <a16:creationId xmlns:a16="http://schemas.microsoft.com/office/drawing/2014/main" id="{A4C51D65-111C-4159-904D-C24F9F02E4B2}"/>
              </a:ext>
            </a:extLst>
          </p:cNvPr>
          <p:cNvSpPr/>
          <p:nvPr/>
        </p:nvSpPr>
        <p:spPr>
          <a:xfrm>
            <a:off x="6775062" y="35462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2" name="Rechteck 501">
            <a:extLst>
              <a:ext uri="{FF2B5EF4-FFF2-40B4-BE49-F238E27FC236}">
                <a16:creationId xmlns:a16="http://schemas.microsoft.com/office/drawing/2014/main" id="{C7F1FBB7-4A1E-4A3C-81C9-3A19BC7A1E61}"/>
              </a:ext>
            </a:extLst>
          </p:cNvPr>
          <p:cNvSpPr/>
          <p:nvPr/>
        </p:nvSpPr>
        <p:spPr>
          <a:xfrm>
            <a:off x="6779056" y="3732476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503" name="Rechteck 502">
            <a:extLst>
              <a:ext uri="{FF2B5EF4-FFF2-40B4-BE49-F238E27FC236}">
                <a16:creationId xmlns:a16="http://schemas.microsoft.com/office/drawing/2014/main" id="{4AA1D8EC-73B0-4402-B161-40F98A94D752}"/>
              </a:ext>
            </a:extLst>
          </p:cNvPr>
          <p:cNvSpPr/>
          <p:nvPr/>
        </p:nvSpPr>
        <p:spPr>
          <a:xfrm>
            <a:off x="6775062" y="3927068"/>
            <a:ext cx="110616" cy="213044"/>
          </a:xfrm>
          <a:prstGeom prst="rect">
            <a:avLst/>
          </a:prstGeom>
          <a:scene3d>
            <a:camera prst="isometricLeftDown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>
              <a:defRPr/>
            </a:pPr>
            <a:endParaRPr lang="en-US" sz="2800" dirty="0"/>
          </a:p>
        </p:txBody>
      </p:sp>
      <p:sp>
        <p:nvSpPr>
          <p:cNvPr id="496" name="Textfeld 495">
            <a:extLst>
              <a:ext uri="{FF2B5EF4-FFF2-40B4-BE49-F238E27FC236}">
                <a16:creationId xmlns:a16="http://schemas.microsoft.com/office/drawing/2014/main" id="{FD3D1862-DF3D-43B0-A10E-9A76BD5E8B67}"/>
              </a:ext>
            </a:extLst>
          </p:cNvPr>
          <p:cNvSpPr txBox="1"/>
          <p:nvPr/>
        </p:nvSpPr>
        <p:spPr>
          <a:xfrm>
            <a:off x="7135381" y="3201760"/>
            <a:ext cx="703098" cy="201528"/>
          </a:xfrm>
          <a:prstGeom prst="rect">
            <a:avLst/>
          </a:prstGeom>
          <a:noFill/>
          <a:scene3d>
            <a:camera prst="isometricLeftDown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/>
          </a:p>
        </p:txBody>
      </p:sp>
      <p:grpSp>
        <p:nvGrpSpPr>
          <p:cNvPr id="554" name="Gruppieren 553">
            <a:extLst>
              <a:ext uri="{FF2B5EF4-FFF2-40B4-BE49-F238E27FC236}">
                <a16:creationId xmlns:a16="http://schemas.microsoft.com/office/drawing/2014/main" id="{41618DDD-5A9B-4489-88F7-82A1BB02A39D}"/>
              </a:ext>
            </a:extLst>
          </p:cNvPr>
          <p:cNvGrpSpPr/>
          <p:nvPr/>
        </p:nvGrpSpPr>
        <p:grpSpPr>
          <a:xfrm>
            <a:off x="7940215" y="1767444"/>
            <a:ext cx="1426790" cy="1308569"/>
            <a:chOff x="211693" y="4793470"/>
            <a:chExt cx="2382761" cy="2331543"/>
          </a:xfrm>
          <a:scene3d>
            <a:camera prst="isometricLeftDown">
              <a:rot lat="1800000" lon="4200000" rev="0"/>
            </a:camera>
            <a:lightRig rig="threePt" dir="t"/>
          </a:scene3d>
        </p:grpSpPr>
        <p:grpSp>
          <p:nvGrpSpPr>
            <p:cNvPr id="559" name="Gruppieren 558">
              <a:extLst>
                <a:ext uri="{FF2B5EF4-FFF2-40B4-BE49-F238E27FC236}">
                  <a16:creationId xmlns:a16="http://schemas.microsoft.com/office/drawing/2014/main" id="{38AD29D9-4D77-4DAA-964B-D8B193428F61}"/>
                </a:ext>
              </a:extLst>
            </p:cNvPr>
            <p:cNvGrpSpPr/>
            <p:nvPr/>
          </p:nvGrpSpPr>
          <p:grpSpPr>
            <a:xfrm>
              <a:off x="211693" y="4793470"/>
              <a:ext cx="2382761" cy="2331543"/>
              <a:chOff x="8045450" y="1893888"/>
              <a:chExt cx="4875213" cy="4875212"/>
            </a:xfrm>
          </p:grpSpPr>
          <p:cxnSp>
            <p:nvCxnSpPr>
              <p:cNvPr id="568" name="Gerader Verbinder 45">
                <a:extLst>
                  <a:ext uri="{FF2B5EF4-FFF2-40B4-BE49-F238E27FC236}">
                    <a16:creationId xmlns:a16="http://schemas.microsoft.com/office/drawing/2014/main" id="{9F6D74C9-E1C7-49B2-AB43-0CA182E2BF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74077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9" name="Gerader Verbinder 46">
                <a:extLst>
                  <a:ext uri="{FF2B5EF4-FFF2-40B4-BE49-F238E27FC236}">
                    <a16:creationId xmlns:a16="http://schemas.microsoft.com/office/drawing/2014/main" id="{327B4535-CC89-4C40-BCAB-4509A5510B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943610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0" name="Gerader Verbinder 47">
                <a:extLst>
                  <a:ext uri="{FF2B5EF4-FFF2-40B4-BE49-F238E27FC236}">
                    <a16:creationId xmlns:a16="http://schemas.microsoft.com/office/drawing/2014/main" id="{F76C82CD-03B9-47F6-85CF-A98EABA52B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131425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1" name="Gerader Verbinder 48">
                <a:extLst>
                  <a:ext uri="{FF2B5EF4-FFF2-40B4-BE49-F238E27FC236}">
                    <a16:creationId xmlns:a16="http://schemas.microsoft.com/office/drawing/2014/main" id="{AFAC1620-66AA-4D44-8717-F79C91E96DC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82833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2" name="Gerader Verbinder 49">
                <a:extLst>
                  <a:ext uri="{FF2B5EF4-FFF2-40B4-BE49-F238E27FC236}">
                    <a16:creationId xmlns:a16="http://schemas.microsoft.com/office/drawing/2014/main" id="{12242B8C-4129-4E72-9C0B-D5E86060D1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152366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3" name="Gerader Verbinder 50">
                <a:extLst>
                  <a:ext uri="{FF2B5EF4-FFF2-40B4-BE49-F238E27FC236}">
                    <a16:creationId xmlns:a16="http://schemas.microsoft.com/office/drawing/2014/main" id="{ED66EF40-D090-4D45-8919-73A9DAB163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218988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4" name="Gerader Verbinder 51">
                <a:extLst>
                  <a:ext uri="{FF2B5EF4-FFF2-40B4-BE49-F238E27FC236}">
                    <a16:creationId xmlns:a16="http://schemas.microsoft.com/office/drawing/2014/main" id="{E6F451A4-2EA6-4F1B-A2D6-CF813ED487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914313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5" name="Gerader Verbinder 52">
                <a:extLst>
                  <a:ext uri="{FF2B5EF4-FFF2-40B4-BE49-F238E27FC236}">
                    <a16:creationId xmlns:a16="http://schemas.microsoft.com/office/drawing/2014/main" id="{606D49FA-551C-4AB9-9DF4-5EDC83E71B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893888"/>
                <a:ext cx="0" cy="4875212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6" name="Gerader Verbinder 53">
                <a:extLst>
                  <a:ext uri="{FF2B5EF4-FFF2-40B4-BE49-F238E27FC236}">
                    <a16:creationId xmlns:a16="http://schemas.microsoft.com/office/drawing/2014/main" id="{793A019F-B578-4B19-A031-1E9AB3C39A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19050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7" name="Gerader Verbinder 54">
                <a:extLst>
                  <a:ext uri="{FF2B5EF4-FFF2-40B4-BE49-F238E27FC236}">
                    <a16:creationId xmlns:a16="http://schemas.microsoft.com/office/drawing/2014/main" id="{235200F8-A1A0-432F-809C-1B9EF94FF8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2600325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8" name="Gerader Verbinder 55">
                <a:extLst>
                  <a:ext uri="{FF2B5EF4-FFF2-40B4-BE49-F238E27FC236}">
                    <a16:creationId xmlns:a16="http://schemas.microsoft.com/office/drawing/2014/main" id="{ECADBB82-1EE4-408D-AA37-A9379848FA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2940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9" name="Gerader Verbinder 56">
                <a:extLst>
                  <a:ext uri="{FF2B5EF4-FFF2-40B4-BE49-F238E27FC236}">
                    <a16:creationId xmlns:a16="http://schemas.microsoft.com/office/drawing/2014/main" id="{507FCE5C-9055-46E5-A284-95D1F29108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39878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0" name="Gerader Verbinder 57">
                <a:extLst>
                  <a:ext uri="{FF2B5EF4-FFF2-40B4-BE49-F238E27FC236}">
                    <a16:creationId xmlns:a16="http://schemas.microsoft.com/office/drawing/2014/main" id="{6352BFCE-022C-4A12-841F-7CB66C1936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46815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1" name="Gerader Verbinder 58">
                <a:extLst>
                  <a:ext uri="{FF2B5EF4-FFF2-40B4-BE49-F238E27FC236}">
                    <a16:creationId xmlns:a16="http://schemas.microsoft.com/office/drawing/2014/main" id="{B1129DEB-5D86-47A0-9699-C74096A62E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5376863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2" name="Gerader Verbinder 59">
                <a:extLst>
                  <a:ext uri="{FF2B5EF4-FFF2-40B4-BE49-F238E27FC236}">
                    <a16:creationId xmlns:a16="http://schemas.microsoft.com/office/drawing/2014/main" id="{A3B5A139-4702-4030-A003-A1C5F191F9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764338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3" name="Gerader Verbinder 60">
                <a:extLst>
                  <a:ext uri="{FF2B5EF4-FFF2-40B4-BE49-F238E27FC236}">
                    <a16:creationId xmlns:a16="http://schemas.microsoft.com/office/drawing/2014/main" id="{6D1A370C-DF1B-45CA-9CB9-D977ECE839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045450" y="6070600"/>
                <a:ext cx="4875213" cy="0"/>
              </a:xfrm>
              <a:prstGeom prst="line">
                <a:avLst/>
              </a:prstGeom>
              <a:noFill/>
              <a:ln w="25400" algn="ctr">
                <a:solidFill>
                  <a:srgbClr val="FFC000"/>
                </a:solidFill>
                <a:round/>
                <a:headEnd/>
                <a:tailEnd/>
              </a:ln>
              <a:sp3d extrusionH="254000" contourW="12700">
                <a:extrusionClr>
                  <a:schemeClr val="bg1"/>
                </a:extrusionClr>
                <a:contourClr>
                  <a:srgbClr val="FFC000"/>
                </a:contourClr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556" name="Rechteck 555">
              <a:extLst>
                <a:ext uri="{FF2B5EF4-FFF2-40B4-BE49-F238E27FC236}">
                  <a16:creationId xmlns:a16="http://schemas.microsoft.com/office/drawing/2014/main" id="{B78A27AD-2896-4D23-8478-F10CFDE8C989}"/>
                </a:ext>
              </a:extLst>
            </p:cNvPr>
            <p:cNvSpPr/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p3d extrusionH="254000" contourW="12700">
              <a:extrusionClr>
                <a:schemeClr val="bg1"/>
              </a:extrusionClr>
              <a:contourClr>
                <a:srgbClr val="FFC000"/>
              </a:contourClr>
            </a:sp3d>
          </p:spPr>
          <p:txBody>
            <a:bodyPr/>
            <a:lstStyle/>
            <a:p>
              <a:pPr defTabSz="1008063">
                <a:defRPr/>
              </a:pPr>
              <a:endParaRPr lang="en-US" dirty="0"/>
            </a:p>
          </p:txBody>
        </p:sp>
      </p:grpSp>
      <p:grpSp>
        <p:nvGrpSpPr>
          <p:cNvPr id="8242" name="Gruppieren 8241">
            <a:extLst>
              <a:ext uri="{FF2B5EF4-FFF2-40B4-BE49-F238E27FC236}">
                <a16:creationId xmlns:a16="http://schemas.microsoft.com/office/drawing/2014/main" id="{952A9AA5-6ADA-4FE8-A9F2-0263F3B20E8C}"/>
              </a:ext>
            </a:extLst>
          </p:cNvPr>
          <p:cNvGrpSpPr>
            <a:grpSpLocks/>
          </p:cNvGrpSpPr>
          <p:nvPr/>
        </p:nvGrpSpPr>
        <p:grpSpPr bwMode="auto">
          <a:xfrm>
            <a:off x="846138" y="4100513"/>
            <a:ext cx="11918950" cy="2906712"/>
            <a:chOff x="312763" y="4111021"/>
            <a:chExt cx="11918201" cy="2907378"/>
          </a:xfrm>
        </p:grpSpPr>
        <p:grpSp>
          <p:nvGrpSpPr>
            <p:cNvPr id="8205" name="Gruppieren 8204">
              <a:extLst>
                <a:ext uri="{FF2B5EF4-FFF2-40B4-BE49-F238E27FC236}">
                  <a16:creationId xmlns:a16="http://schemas.microsoft.com/office/drawing/2014/main" id="{C1DFEE49-7A66-4F12-89C1-BC87022A1F19}"/>
                </a:ext>
              </a:extLst>
            </p:cNvPr>
            <p:cNvGrpSpPr/>
            <p:nvPr/>
          </p:nvGrpSpPr>
          <p:grpSpPr>
            <a:xfrm>
              <a:off x="2532715" y="4283293"/>
              <a:ext cx="2967997" cy="2719827"/>
              <a:chOff x="2790995" y="4402909"/>
              <a:chExt cx="2967997" cy="2719827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8201" name="Gruppieren 8200">
                <a:extLst>
                  <a:ext uri="{FF2B5EF4-FFF2-40B4-BE49-F238E27FC236}">
                    <a16:creationId xmlns:a16="http://schemas.microsoft.com/office/drawing/2014/main" id="{E1D6FF67-4618-48D6-B47A-DF066997464C}"/>
                  </a:ext>
                </a:extLst>
              </p:cNvPr>
              <p:cNvGrpSpPr/>
              <p:nvPr/>
            </p:nvGrpSpPr>
            <p:grpSpPr>
              <a:xfrm>
                <a:off x="2790995" y="4402909"/>
                <a:ext cx="2967997" cy="2719827"/>
                <a:chOff x="5099526" y="4015537"/>
                <a:chExt cx="2967997" cy="2719827"/>
              </a:xfrm>
            </p:grpSpPr>
            <p:grpSp>
              <p:nvGrpSpPr>
                <p:cNvPr id="8199" name="Gruppieren 8198">
                  <a:extLst>
                    <a:ext uri="{FF2B5EF4-FFF2-40B4-BE49-F238E27FC236}">
                      <a16:creationId xmlns:a16="http://schemas.microsoft.com/office/drawing/2014/main" id="{D17691E8-5EE9-40EC-8687-CCA7A87D4BF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142" name="Gruppieren 141">
                    <a:extLst>
                      <a:ext uri="{FF2B5EF4-FFF2-40B4-BE49-F238E27FC236}">
                        <a16:creationId xmlns:a16="http://schemas.microsoft.com/office/drawing/2014/main" id="{BE4EE354-D1B7-47C3-82A1-1B7C1C371EA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143" name="Gruppieren 142">
                      <a:extLst>
                        <a:ext uri="{FF2B5EF4-FFF2-40B4-BE49-F238E27FC236}">
                          <a16:creationId xmlns:a16="http://schemas.microsoft.com/office/drawing/2014/main" id="{86A5A755-E652-4F42-8A88-5662F307C5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153" name="Gerader Verbinder 45">
                        <a:extLst>
                          <a:ext uri="{FF2B5EF4-FFF2-40B4-BE49-F238E27FC236}">
                            <a16:creationId xmlns:a16="http://schemas.microsoft.com/office/drawing/2014/main" id="{18141558-0F73-4CC0-B4FE-5287A380E09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4" name="Gerader Verbinder 46">
                        <a:extLst>
                          <a:ext uri="{FF2B5EF4-FFF2-40B4-BE49-F238E27FC236}">
                            <a16:creationId xmlns:a16="http://schemas.microsoft.com/office/drawing/2014/main" id="{BE19772F-3431-4FD4-9719-5E1E05FABD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5" name="Gerader Verbinder 47">
                        <a:extLst>
                          <a:ext uri="{FF2B5EF4-FFF2-40B4-BE49-F238E27FC236}">
                            <a16:creationId xmlns:a16="http://schemas.microsoft.com/office/drawing/2014/main" id="{1A7F13D8-1125-4EDF-977B-2CAA0CED7B9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6" name="Gerader Verbinder 48">
                        <a:extLst>
                          <a:ext uri="{FF2B5EF4-FFF2-40B4-BE49-F238E27FC236}">
                            <a16:creationId xmlns:a16="http://schemas.microsoft.com/office/drawing/2014/main" id="{54CAEAF8-BA68-4B12-B9DE-57BCF800CC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7" name="Gerader Verbinder 49">
                        <a:extLst>
                          <a:ext uri="{FF2B5EF4-FFF2-40B4-BE49-F238E27FC236}">
                            <a16:creationId xmlns:a16="http://schemas.microsoft.com/office/drawing/2014/main" id="{352B71CF-0FD2-4270-8472-D904A07D65B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8" name="Gerader Verbinder 50">
                        <a:extLst>
                          <a:ext uri="{FF2B5EF4-FFF2-40B4-BE49-F238E27FC236}">
                            <a16:creationId xmlns:a16="http://schemas.microsoft.com/office/drawing/2014/main" id="{FBA175B7-7163-44F9-8499-725A86E2E1D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59" name="Gerader Verbinder 51">
                        <a:extLst>
                          <a:ext uri="{FF2B5EF4-FFF2-40B4-BE49-F238E27FC236}">
                            <a16:creationId xmlns:a16="http://schemas.microsoft.com/office/drawing/2014/main" id="{481A011F-7E91-4748-A1EE-64D685CF9E7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0" name="Gerader Verbinder 52">
                        <a:extLst>
                          <a:ext uri="{FF2B5EF4-FFF2-40B4-BE49-F238E27FC236}">
                            <a16:creationId xmlns:a16="http://schemas.microsoft.com/office/drawing/2014/main" id="{AEC62F1D-E612-4359-A79B-7CD1A81186C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1" name="Gerader Verbinder 53">
                        <a:extLst>
                          <a:ext uri="{FF2B5EF4-FFF2-40B4-BE49-F238E27FC236}">
                            <a16:creationId xmlns:a16="http://schemas.microsoft.com/office/drawing/2014/main" id="{A870A483-0B31-4371-AB3A-058F504153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2" name="Gerader Verbinder 54">
                        <a:extLst>
                          <a:ext uri="{FF2B5EF4-FFF2-40B4-BE49-F238E27FC236}">
                            <a16:creationId xmlns:a16="http://schemas.microsoft.com/office/drawing/2014/main" id="{A92ED08C-0A7D-4AF1-8C96-4D78F08F236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3" name="Gerader Verbinder 55">
                        <a:extLst>
                          <a:ext uri="{FF2B5EF4-FFF2-40B4-BE49-F238E27FC236}">
                            <a16:creationId xmlns:a16="http://schemas.microsoft.com/office/drawing/2014/main" id="{7A7635A3-8832-48F1-9645-FCA55316AF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4" name="Gerader Verbinder 56">
                        <a:extLst>
                          <a:ext uri="{FF2B5EF4-FFF2-40B4-BE49-F238E27FC236}">
                            <a16:creationId xmlns:a16="http://schemas.microsoft.com/office/drawing/2014/main" id="{23389671-A59B-4EA0-985C-35F956CE84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5" name="Gerader Verbinder 57">
                        <a:extLst>
                          <a:ext uri="{FF2B5EF4-FFF2-40B4-BE49-F238E27FC236}">
                            <a16:creationId xmlns:a16="http://schemas.microsoft.com/office/drawing/2014/main" id="{F9AF61A2-8AC1-4730-A027-39766D3DCDC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6" name="Gerader Verbinder 58">
                        <a:extLst>
                          <a:ext uri="{FF2B5EF4-FFF2-40B4-BE49-F238E27FC236}">
                            <a16:creationId xmlns:a16="http://schemas.microsoft.com/office/drawing/2014/main" id="{E52ABA07-0EE0-433B-816E-A74B20A2D7B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7" name="Gerader Verbinder 59">
                        <a:extLst>
                          <a:ext uri="{FF2B5EF4-FFF2-40B4-BE49-F238E27FC236}">
                            <a16:creationId xmlns:a16="http://schemas.microsoft.com/office/drawing/2014/main" id="{6413D4A5-769A-44B7-A03E-8A5C0DA7C2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168" name="Gerader Verbinder 60">
                        <a:extLst>
                          <a:ext uri="{FF2B5EF4-FFF2-40B4-BE49-F238E27FC236}">
                            <a16:creationId xmlns:a16="http://schemas.microsoft.com/office/drawing/2014/main" id="{ED2E763A-6210-41C3-94D5-95F4866C6DA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146" name="Textfeld 145">
                      <a:extLst>
                        <a:ext uri="{FF2B5EF4-FFF2-40B4-BE49-F238E27FC236}">
                          <a16:creationId xmlns:a16="http://schemas.microsoft.com/office/drawing/2014/main" id="{E8BBA0B4-FCA8-45B0-A7BA-E355104FC7E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7" name="Rechteck 146">
                      <a:extLst>
                        <a:ext uri="{FF2B5EF4-FFF2-40B4-BE49-F238E27FC236}">
                          <a16:creationId xmlns:a16="http://schemas.microsoft.com/office/drawing/2014/main" id="{68A8C7EC-BE6C-43B9-B7F1-7F1DCFF595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48" name="Rechteck 147">
                      <a:extLst>
                        <a:ext uri="{FF2B5EF4-FFF2-40B4-BE49-F238E27FC236}">
                          <a16:creationId xmlns:a16="http://schemas.microsoft.com/office/drawing/2014/main" id="{11232C1F-6EBE-4661-87AB-810E8EB6C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0" name="Rechteck 149">
                      <a:extLst>
                        <a:ext uri="{FF2B5EF4-FFF2-40B4-BE49-F238E27FC236}">
                          <a16:creationId xmlns:a16="http://schemas.microsoft.com/office/drawing/2014/main" id="{C5F6AAE3-A41A-4875-BD30-23203099E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1" name="Rechteck 150">
                      <a:extLst>
                        <a:ext uri="{FF2B5EF4-FFF2-40B4-BE49-F238E27FC236}">
                          <a16:creationId xmlns:a16="http://schemas.microsoft.com/office/drawing/2014/main" id="{2B9BE982-15CB-4667-A8A4-0CF213A97E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59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152" name="Rechteck 151">
                      <a:extLst>
                        <a:ext uri="{FF2B5EF4-FFF2-40B4-BE49-F238E27FC236}">
                          <a16:creationId xmlns:a16="http://schemas.microsoft.com/office/drawing/2014/main" id="{053C6F27-EB91-4067-B852-E91E4421E6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169" name="Rechteck 168">
                    <a:extLst>
                      <a:ext uri="{FF2B5EF4-FFF2-40B4-BE49-F238E27FC236}">
                        <a16:creationId xmlns:a16="http://schemas.microsoft.com/office/drawing/2014/main" id="{88512AE4-C0DB-4E3A-B572-9FCC910FECF6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-0.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14A6F8E9-28D5-4C4D-BDB3-6C3993A5271B}"/>
                    </a:ext>
                  </a:extLst>
                </p:cNvPr>
                <p:cNvSpPr txBox="1"/>
                <p:nvPr/>
              </p:nvSpPr>
              <p:spPr>
                <a:xfrm>
                  <a:off x="5701675" y="4015537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x-center</a:t>
                  </a:r>
                  <a:endParaRPr lang="en-US" b="1" dirty="0"/>
                </a:p>
              </p:txBody>
            </p:sp>
          </p:grpSp>
          <p:sp>
            <p:nvSpPr>
              <p:cNvPr id="393" name="Rechteck 392">
                <a:extLst>
                  <a:ext uri="{FF2B5EF4-FFF2-40B4-BE49-F238E27FC236}">
                    <a16:creationId xmlns:a16="http://schemas.microsoft.com/office/drawing/2014/main" id="{2C6D4D42-83AF-4C5E-ADF1-63147ABEB117}"/>
                  </a:ext>
                </a:extLst>
              </p:cNvPr>
              <p:cNvSpPr/>
              <p:nvPr/>
            </p:nvSpPr>
            <p:spPr bwMode="auto">
              <a:xfrm>
                <a:off x="2794788" y="479423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6" name="Gruppieren 8205">
              <a:extLst>
                <a:ext uri="{FF2B5EF4-FFF2-40B4-BE49-F238E27FC236}">
                  <a16:creationId xmlns:a16="http://schemas.microsoft.com/office/drawing/2014/main" id="{6C055A2F-3754-4FD0-BF58-2A9B2FBFD99C}"/>
                </a:ext>
              </a:extLst>
            </p:cNvPr>
            <p:cNvGrpSpPr/>
            <p:nvPr/>
          </p:nvGrpSpPr>
          <p:grpSpPr>
            <a:xfrm>
              <a:off x="4738108" y="4284036"/>
              <a:ext cx="2967997" cy="2727874"/>
              <a:chOff x="5375874" y="4397703"/>
              <a:chExt cx="2967997" cy="2727874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279" name="Gruppieren 278">
                <a:extLst>
                  <a:ext uri="{FF2B5EF4-FFF2-40B4-BE49-F238E27FC236}">
                    <a16:creationId xmlns:a16="http://schemas.microsoft.com/office/drawing/2014/main" id="{64AB7C70-A846-4015-9AC0-489B5B1CAB43}"/>
                  </a:ext>
                </a:extLst>
              </p:cNvPr>
              <p:cNvGrpSpPr/>
              <p:nvPr/>
            </p:nvGrpSpPr>
            <p:grpSpPr>
              <a:xfrm>
                <a:off x="5375874" y="4397703"/>
                <a:ext cx="2967997" cy="2727874"/>
                <a:chOff x="5099526" y="4007490"/>
                <a:chExt cx="2967997" cy="2727874"/>
              </a:xfrm>
            </p:grpSpPr>
            <p:grpSp>
              <p:nvGrpSpPr>
                <p:cNvPr id="280" name="Gruppieren 279">
                  <a:extLst>
                    <a:ext uri="{FF2B5EF4-FFF2-40B4-BE49-F238E27FC236}">
                      <a16:creationId xmlns:a16="http://schemas.microsoft.com/office/drawing/2014/main" id="{1E0BA623-AEDC-4621-9F1A-AA0E291FCC3E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282" name="Gruppieren 281">
                    <a:extLst>
                      <a:ext uri="{FF2B5EF4-FFF2-40B4-BE49-F238E27FC236}">
                        <a16:creationId xmlns:a16="http://schemas.microsoft.com/office/drawing/2014/main" id="{9507DEC8-38C5-4EB0-8533-9138A4B8BEFD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284" name="Gruppieren 283">
                      <a:extLst>
                        <a:ext uri="{FF2B5EF4-FFF2-40B4-BE49-F238E27FC236}">
                          <a16:creationId xmlns:a16="http://schemas.microsoft.com/office/drawing/2014/main" id="{A845F5F4-7F1F-48F7-8CAA-D8A10BAED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291" name="Gerader Verbinder 45">
                        <a:extLst>
                          <a:ext uri="{FF2B5EF4-FFF2-40B4-BE49-F238E27FC236}">
                            <a16:creationId xmlns:a16="http://schemas.microsoft.com/office/drawing/2014/main" id="{793CD414-D583-49AE-8A88-8B2A90F1F23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2" name="Gerader Verbinder 46">
                        <a:extLst>
                          <a:ext uri="{FF2B5EF4-FFF2-40B4-BE49-F238E27FC236}">
                            <a16:creationId xmlns:a16="http://schemas.microsoft.com/office/drawing/2014/main" id="{FD29B31A-F200-4439-AD36-0A63FFD8CA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3" name="Gerader Verbinder 47">
                        <a:extLst>
                          <a:ext uri="{FF2B5EF4-FFF2-40B4-BE49-F238E27FC236}">
                            <a16:creationId xmlns:a16="http://schemas.microsoft.com/office/drawing/2014/main" id="{ADCE1676-F1C6-4000-A5E0-25F3AD9554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4" name="Gerader Verbinder 48">
                        <a:extLst>
                          <a:ext uri="{FF2B5EF4-FFF2-40B4-BE49-F238E27FC236}">
                            <a16:creationId xmlns:a16="http://schemas.microsoft.com/office/drawing/2014/main" id="{E4114618-3EF1-4802-BDBF-86709E06BF4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5" name="Gerader Verbinder 49">
                        <a:extLst>
                          <a:ext uri="{FF2B5EF4-FFF2-40B4-BE49-F238E27FC236}">
                            <a16:creationId xmlns:a16="http://schemas.microsoft.com/office/drawing/2014/main" id="{FBE68FA7-8B09-4E57-B4E5-AEFC55D832E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6" name="Gerader Verbinder 50">
                        <a:extLst>
                          <a:ext uri="{FF2B5EF4-FFF2-40B4-BE49-F238E27FC236}">
                            <a16:creationId xmlns:a16="http://schemas.microsoft.com/office/drawing/2014/main" id="{EC433CD4-2318-4770-8B81-1CDB31A1EE1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7" name="Gerader Verbinder 51">
                        <a:extLst>
                          <a:ext uri="{FF2B5EF4-FFF2-40B4-BE49-F238E27FC236}">
                            <a16:creationId xmlns:a16="http://schemas.microsoft.com/office/drawing/2014/main" id="{5E865340-C7FC-4EC1-A96F-EA86599CDC7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8" name="Gerader Verbinder 52">
                        <a:extLst>
                          <a:ext uri="{FF2B5EF4-FFF2-40B4-BE49-F238E27FC236}">
                            <a16:creationId xmlns:a16="http://schemas.microsoft.com/office/drawing/2014/main" id="{496989D8-A60F-48A0-9174-E0372E746CB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299" name="Gerader Verbinder 53">
                        <a:extLst>
                          <a:ext uri="{FF2B5EF4-FFF2-40B4-BE49-F238E27FC236}">
                            <a16:creationId xmlns:a16="http://schemas.microsoft.com/office/drawing/2014/main" id="{A31986A1-04B7-4D01-B93B-C57A2279BB8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0" name="Gerader Verbinder 54">
                        <a:extLst>
                          <a:ext uri="{FF2B5EF4-FFF2-40B4-BE49-F238E27FC236}">
                            <a16:creationId xmlns:a16="http://schemas.microsoft.com/office/drawing/2014/main" id="{B4736238-8E30-49B8-A21C-A96863C42FD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1" name="Gerader Verbinder 55">
                        <a:extLst>
                          <a:ext uri="{FF2B5EF4-FFF2-40B4-BE49-F238E27FC236}">
                            <a16:creationId xmlns:a16="http://schemas.microsoft.com/office/drawing/2014/main" id="{D16A0C63-364A-4B44-A54F-09847B44B5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2" name="Gerader Verbinder 56">
                        <a:extLst>
                          <a:ext uri="{FF2B5EF4-FFF2-40B4-BE49-F238E27FC236}">
                            <a16:creationId xmlns:a16="http://schemas.microsoft.com/office/drawing/2014/main" id="{C366CB20-BD05-4CF3-8389-8D8BCD322B2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3" name="Gerader Verbinder 57">
                        <a:extLst>
                          <a:ext uri="{FF2B5EF4-FFF2-40B4-BE49-F238E27FC236}">
                            <a16:creationId xmlns:a16="http://schemas.microsoft.com/office/drawing/2014/main" id="{A4B9EFAF-7927-423E-973D-E2BD6E54E4A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4" name="Gerader Verbinder 58">
                        <a:extLst>
                          <a:ext uri="{FF2B5EF4-FFF2-40B4-BE49-F238E27FC236}">
                            <a16:creationId xmlns:a16="http://schemas.microsoft.com/office/drawing/2014/main" id="{91FC5F82-CFE7-4A89-BE9C-268F40476E0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5" name="Gerader Verbinder 59">
                        <a:extLst>
                          <a:ext uri="{FF2B5EF4-FFF2-40B4-BE49-F238E27FC236}">
                            <a16:creationId xmlns:a16="http://schemas.microsoft.com/office/drawing/2014/main" id="{ECB4944E-3367-4F2E-9496-457F30AE78A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6" name="Gerader Verbinder 60">
                        <a:extLst>
                          <a:ext uri="{FF2B5EF4-FFF2-40B4-BE49-F238E27FC236}">
                            <a16:creationId xmlns:a16="http://schemas.microsoft.com/office/drawing/2014/main" id="{4A80B071-B47E-4C04-BA14-7E15B4642D4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285" name="Textfeld 284">
                      <a:extLst>
                        <a:ext uri="{FF2B5EF4-FFF2-40B4-BE49-F238E27FC236}">
                          <a16:creationId xmlns:a16="http://schemas.microsoft.com/office/drawing/2014/main" id="{DC9F9CDD-5D71-4289-BC0E-CF1A87BCBF5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6" name="Rechteck 285">
                      <a:extLst>
                        <a:ext uri="{FF2B5EF4-FFF2-40B4-BE49-F238E27FC236}">
                          <a16:creationId xmlns:a16="http://schemas.microsoft.com/office/drawing/2014/main" id="{A0759D57-98F8-4A9A-9F59-00EAE0BFBD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7" name="Rechteck 286">
                      <a:extLst>
                        <a:ext uri="{FF2B5EF4-FFF2-40B4-BE49-F238E27FC236}">
                          <a16:creationId xmlns:a16="http://schemas.microsoft.com/office/drawing/2014/main" id="{C1FBEDE7-0309-4922-9006-553CF4E04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8" name="Rechteck 287">
                      <a:extLst>
                        <a:ext uri="{FF2B5EF4-FFF2-40B4-BE49-F238E27FC236}">
                          <a16:creationId xmlns:a16="http://schemas.microsoft.com/office/drawing/2014/main" id="{2A37A2EA-BDEE-4777-A30F-50228D786D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89" name="Rechteck 288">
                      <a:extLst>
                        <a:ext uri="{FF2B5EF4-FFF2-40B4-BE49-F238E27FC236}">
                          <a16:creationId xmlns:a16="http://schemas.microsoft.com/office/drawing/2014/main" id="{FF876AB2-14EB-4EEC-AB73-032396F52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534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290" name="Rechteck 289">
                      <a:extLst>
                        <a:ext uri="{FF2B5EF4-FFF2-40B4-BE49-F238E27FC236}">
                          <a16:creationId xmlns:a16="http://schemas.microsoft.com/office/drawing/2014/main" id="{03F4180D-15B9-4A4C-8941-03DEEF69B0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283" name="Rechteck 282">
                    <a:extLst>
                      <a:ext uri="{FF2B5EF4-FFF2-40B4-BE49-F238E27FC236}">
                        <a16:creationId xmlns:a16="http://schemas.microsoft.com/office/drawing/2014/main" id="{E6BF8A14-6A45-4FB1-907F-42E18CAD610D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336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281" name="Textfeld 280">
                  <a:extLst>
                    <a:ext uri="{FF2B5EF4-FFF2-40B4-BE49-F238E27FC236}">
                      <a16:creationId xmlns:a16="http://schemas.microsoft.com/office/drawing/2014/main" id="{7968DAA6-E555-42ED-87EF-DB2AA7A1054F}"/>
                    </a:ext>
                  </a:extLst>
                </p:cNvPr>
                <p:cNvSpPr txBox="1"/>
                <p:nvPr/>
              </p:nvSpPr>
              <p:spPr>
                <a:xfrm>
                  <a:off x="5704919" y="4007490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/>
                    <a:t>y-center</a:t>
                  </a:r>
                  <a:endParaRPr lang="en-US" b="1" dirty="0"/>
                </a:p>
              </p:txBody>
            </p:sp>
          </p:grpSp>
          <p:sp>
            <p:nvSpPr>
              <p:cNvPr id="394" name="Rechteck 393">
                <a:extLst>
                  <a:ext uri="{FF2B5EF4-FFF2-40B4-BE49-F238E27FC236}">
                    <a16:creationId xmlns:a16="http://schemas.microsoft.com/office/drawing/2014/main" id="{A9A3B244-FCEE-4DCE-96EB-1FEE1248B3AB}"/>
                  </a:ext>
                </a:extLst>
              </p:cNvPr>
              <p:cNvSpPr/>
              <p:nvPr/>
            </p:nvSpPr>
            <p:spPr bwMode="auto">
              <a:xfrm>
                <a:off x="5377984" y="4801061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7" name="Gruppieren 8206">
              <a:extLst>
                <a:ext uri="{FF2B5EF4-FFF2-40B4-BE49-F238E27FC236}">
                  <a16:creationId xmlns:a16="http://schemas.microsoft.com/office/drawing/2014/main" id="{D4DC3904-D669-4D94-B368-84F557D78FFB}"/>
                </a:ext>
              </a:extLst>
            </p:cNvPr>
            <p:cNvGrpSpPr/>
            <p:nvPr/>
          </p:nvGrpSpPr>
          <p:grpSpPr>
            <a:xfrm>
              <a:off x="6924189" y="4286708"/>
              <a:ext cx="2967997" cy="2725081"/>
              <a:chOff x="7925915" y="4400047"/>
              <a:chExt cx="2967997" cy="2725081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07" name="Gruppieren 306">
                <a:extLst>
                  <a:ext uri="{FF2B5EF4-FFF2-40B4-BE49-F238E27FC236}">
                    <a16:creationId xmlns:a16="http://schemas.microsoft.com/office/drawing/2014/main" id="{255A4F1D-ECA0-4187-AE3F-47425D0AF376}"/>
                  </a:ext>
                </a:extLst>
              </p:cNvPr>
              <p:cNvGrpSpPr/>
              <p:nvPr/>
            </p:nvGrpSpPr>
            <p:grpSpPr>
              <a:xfrm>
                <a:off x="7925915" y="4400047"/>
                <a:ext cx="2967997" cy="2722689"/>
                <a:chOff x="5099526" y="4012675"/>
                <a:chExt cx="2967997" cy="2722689"/>
              </a:xfrm>
            </p:grpSpPr>
            <p:grpSp>
              <p:nvGrpSpPr>
                <p:cNvPr id="308" name="Gruppieren 307">
                  <a:extLst>
                    <a:ext uri="{FF2B5EF4-FFF2-40B4-BE49-F238E27FC236}">
                      <a16:creationId xmlns:a16="http://schemas.microsoft.com/office/drawing/2014/main" id="{7699D70A-D256-4ECD-95CE-792638AF6594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10" name="Gruppieren 309">
                    <a:extLst>
                      <a:ext uri="{FF2B5EF4-FFF2-40B4-BE49-F238E27FC236}">
                        <a16:creationId xmlns:a16="http://schemas.microsoft.com/office/drawing/2014/main" id="{37F5C871-C436-4F0D-9D16-DD3DED7FF234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12" name="Gruppieren 311">
                      <a:extLst>
                        <a:ext uri="{FF2B5EF4-FFF2-40B4-BE49-F238E27FC236}">
                          <a16:creationId xmlns:a16="http://schemas.microsoft.com/office/drawing/2014/main" id="{8ED4AA8B-5E31-4D68-858E-1F010D5EB4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19" name="Gerader Verbinder 45">
                        <a:extLst>
                          <a:ext uri="{FF2B5EF4-FFF2-40B4-BE49-F238E27FC236}">
                            <a16:creationId xmlns:a16="http://schemas.microsoft.com/office/drawing/2014/main" id="{77C89E4B-93EF-4C20-A8EC-E4633C984C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0" name="Gerader Verbinder 46">
                        <a:extLst>
                          <a:ext uri="{FF2B5EF4-FFF2-40B4-BE49-F238E27FC236}">
                            <a16:creationId xmlns:a16="http://schemas.microsoft.com/office/drawing/2014/main" id="{C49372BA-F02A-42CD-81CD-F8CBC875768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1" name="Gerader Verbinder 47">
                        <a:extLst>
                          <a:ext uri="{FF2B5EF4-FFF2-40B4-BE49-F238E27FC236}">
                            <a16:creationId xmlns:a16="http://schemas.microsoft.com/office/drawing/2014/main" id="{637E35AF-840D-44EE-A42D-C396DB37A59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2" name="Gerader Verbinder 48">
                        <a:extLst>
                          <a:ext uri="{FF2B5EF4-FFF2-40B4-BE49-F238E27FC236}">
                            <a16:creationId xmlns:a16="http://schemas.microsoft.com/office/drawing/2014/main" id="{8FAD423F-3F55-422E-8F7D-779B1FB5647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3" name="Gerader Verbinder 49">
                        <a:extLst>
                          <a:ext uri="{FF2B5EF4-FFF2-40B4-BE49-F238E27FC236}">
                            <a16:creationId xmlns:a16="http://schemas.microsoft.com/office/drawing/2014/main" id="{5086BA76-18DE-42EF-93C5-D31691275DB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4" name="Gerader Verbinder 50">
                        <a:extLst>
                          <a:ext uri="{FF2B5EF4-FFF2-40B4-BE49-F238E27FC236}">
                            <a16:creationId xmlns:a16="http://schemas.microsoft.com/office/drawing/2014/main" id="{50A0C3FA-CB48-423D-A8E9-7F554A68B5F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5" name="Gerader Verbinder 51">
                        <a:extLst>
                          <a:ext uri="{FF2B5EF4-FFF2-40B4-BE49-F238E27FC236}">
                            <a16:creationId xmlns:a16="http://schemas.microsoft.com/office/drawing/2014/main" id="{F6227A59-BB1C-42EA-B25A-268F126E21CA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6" name="Gerader Verbinder 52">
                        <a:extLst>
                          <a:ext uri="{FF2B5EF4-FFF2-40B4-BE49-F238E27FC236}">
                            <a16:creationId xmlns:a16="http://schemas.microsoft.com/office/drawing/2014/main" id="{7253468F-6509-41E8-B543-37A9F6103E8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7" name="Gerader Verbinder 53">
                        <a:extLst>
                          <a:ext uri="{FF2B5EF4-FFF2-40B4-BE49-F238E27FC236}">
                            <a16:creationId xmlns:a16="http://schemas.microsoft.com/office/drawing/2014/main" id="{BA1606F0-A59F-41FC-A809-D1D2E14921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8" name="Gerader Verbinder 54">
                        <a:extLst>
                          <a:ext uri="{FF2B5EF4-FFF2-40B4-BE49-F238E27FC236}">
                            <a16:creationId xmlns:a16="http://schemas.microsoft.com/office/drawing/2014/main" id="{BB87CAB6-4F0B-41FE-A256-4C10AFDA21D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9" name="Gerader Verbinder 55">
                        <a:extLst>
                          <a:ext uri="{FF2B5EF4-FFF2-40B4-BE49-F238E27FC236}">
                            <a16:creationId xmlns:a16="http://schemas.microsoft.com/office/drawing/2014/main" id="{8B0DDA58-D1CA-4F1F-809E-3922F9F55F1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0" name="Gerader Verbinder 56">
                        <a:extLst>
                          <a:ext uri="{FF2B5EF4-FFF2-40B4-BE49-F238E27FC236}">
                            <a16:creationId xmlns:a16="http://schemas.microsoft.com/office/drawing/2014/main" id="{6302A1EF-4228-4186-8196-E7AE4490E67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1" name="Gerader Verbinder 57">
                        <a:extLst>
                          <a:ext uri="{FF2B5EF4-FFF2-40B4-BE49-F238E27FC236}">
                            <a16:creationId xmlns:a16="http://schemas.microsoft.com/office/drawing/2014/main" id="{87345935-3DA8-4F05-ADFA-707503B4C7E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2" name="Gerader Verbinder 58">
                        <a:extLst>
                          <a:ext uri="{FF2B5EF4-FFF2-40B4-BE49-F238E27FC236}">
                            <a16:creationId xmlns:a16="http://schemas.microsoft.com/office/drawing/2014/main" id="{7CEF0401-7AB9-4CF1-9312-E7A8054E4D8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3" name="Gerader Verbinder 59">
                        <a:extLst>
                          <a:ext uri="{FF2B5EF4-FFF2-40B4-BE49-F238E27FC236}">
                            <a16:creationId xmlns:a16="http://schemas.microsoft.com/office/drawing/2014/main" id="{C7373EB6-CEF8-40A7-9F7F-018122E7B75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4" name="Gerader Verbinder 60">
                        <a:extLst>
                          <a:ext uri="{FF2B5EF4-FFF2-40B4-BE49-F238E27FC236}">
                            <a16:creationId xmlns:a16="http://schemas.microsoft.com/office/drawing/2014/main" id="{DEFC22EB-6FFD-43B0-A0F6-4713EED547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13" name="Textfeld 312">
                      <a:extLst>
                        <a:ext uri="{FF2B5EF4-FFF2-40B4-BE49-F238E27FC236}">
                          <a16:creationId xmlns:a16="http://schemas.microsoft.com/office/drawing/2014/main" id="{AC1D4436-9242-4E07-9535-F7870DFFCD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4" name="Rechteck 313">
                      <a:extLst>
                        <a:ext uri="{FF2B5EF4-FFF2-40B4-BE49-F238E27FC236}">
                          <a16:creationId xmlns:a16="http://schemas.microsoft.com/office/drawing/2014/main" id="{2F009EBE-6FCC-4635-A267-4E62BD6A7B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5" name="Rechteck 314">
                      <a:extLst>
                        <a:ext uri="{FF2B5EF4-FFF2-40B4-BE49-F238E27FC236}">
                          <a16:creationId xmlns:a16="http://schemas.microsoft.com/office/drawing/2014/main" id="{3779F806-02E4-4FA2-85D1-A95978A6E8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6" name="Rechteck 315">
                      <a:extLst>
                        <a:ext uri="{FF2B5EF4-FFF2-40B4-BE49-F238E27FC236}">
                          <a16:creationId xmlns:a16="http://schemas.microsoft.com/office/drawing/2014/main" id="{558CA819-9E4D-40D6-A289-2710E0D263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7" name="Rechteck 316">
                      <a:extLst>
                        <a:ext uri="{FF2B5EF4-FFF2-40B4-BE49-F238E27FC236}">
                          <a16:creationId xmlns:a16="http://schemas.microsoft.com/office/drawing/2014/main" id="{39690E25-E056-4361-BC2E-6AAE498156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98</a:t>
                      </a:r>
                      <a:r>
                        <a:rPr lang="de-DE" sz="2800" dirty="0"/>
                        <a:t>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18" name="Rechteck 317">
                      <a:extLst>
                        <a:ext uri="{FF2B5EF4-FFF2-40B4-BE49-F238E27FC236}">
                          <a16:creationId xmlns:a16="http://schemas.microsoft.com/office/drawing/2014/main" id="{E241E508-1CD4-424E-A99F-6C7F5EBBEF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11" name="Rechteck 310">
                    <a:extLst>
                      <a:ext uri="{FF2B5EF4-FFF2-40B4-BE49-F238E27FC236}">
                        <a16:creationId xmlns:a16="http://schemas.microsoft.com/office/drawing/2014/main" id="{C5892D32-627B-4B65-82B2-DDB6903FC6B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1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09" name="Textfeld 308">
                  <a:extLst>
                    <a:ext uri="{FF2B5EF4-FFF2-40B4-BE49-F238E27FC236}">
                      <a16:creationId xmlns:a16="http://schemas.microsoft.com/office/drawing/2014/main" id="{B0FE57EE-5DB7-441A-B7C5-84F8D92DEED7}"/>
                    </a:ext>
                  </a:extLst>
                </p:cNvPr>
                <p:cNvSpPr txBox="1"/>
                <p:nvPr/>
              </p:nvSpPr>
              <p:spPr>
                <a:xfrm>
                  <a:off x="5704635" y="4012675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width</a:t>
                  </a:r>
                  <a:endParaRPr lang="en-US" b="1" dirty="0"/>
                </a:p>
              </p:txBody>
            </p:sp>
          </p:grpSp>
          <p:sp>
            <p:nvSpPr>
              <p:cNvPr id="395" name="Rechteck 394">
                <a:extLst>
                  <a:ext uri="{FF2B5EF4-FFF2-40B4-BE49-F238E27FC236}">
                    <a16:creationId xmlns:a16="http://schemas.microsoft.com/office/drawing/2014/main" id="{E39A028C-2CF2-4339-85A9-8705335995F8}"/>
                  </a:ext>
                </a:extLst>
              </p:cNvPr>
              <p:cNvSpPr/>
              <p:nvPr/>
            </p:nvSpPr>
            <p:spPr bwMode="auto">
              <a:xfrm>
                <a:off x="7929823" y="4801176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8208" name="Gruppieren 8207">
              <a:extLst>
                <a:ext uri="{FF2B5EF4-FFF2-40B4-BE49-F238E27FC236}">
                  <a16:creationId xmlns:a16="http://schemas.microsoft.com/office/drawing/2014/main" id="{0598D09A-5074-4651-B2B8-365D73EA0B31}"/>
                </a:ext>
              </a:extLst>
            </p:cNvPr>
            <p:cNvGrpSpPr/>
            <p:nvPr/>
          </p:nvGrpSpPr>
          <p:grpSpPr>
            <a:xfrm>
              <a:off x="9106637" y="4288841"/>
              <a:ext cx="2967997" cy="2729558"/>
              <a:chOff x="10454502" y="4380899"/>
              <a:chExt cx="2967997" cy="2729558"/>
            </a:xfrm>
            <a:scene3d>
              <a:camera prst="orthographicFront">
                <a:rot lat="1800000" lon="1800000" rev="0"/>
              </a:camera>
              <a:lightRig rig="threePt" dir="t"/>
            </a:scene3d>
          </p:grpSpPr>
          <p:grpSp>
            <p:nvGrpSpPr>
              <p:cNvPr id="335" name="Gruppieren 334">
                <a:extLst>
                  <a:ext uri="{FF2B5EF4-FFF2-40B4-BE49-F238E27FC236}">
                    <a16:creationId xmlns:a16="http://schemas.microsoft.com/office/drawing/2014/main" id="{BF09ECE7-25E0-4E6E-8118-A325EB4313EA}"/>
                  </a:ext>
                </a:extLst>
              </p:cNvPr>
              <p:cNvGrpSpPr/>
              <p:nvPr/>
            </p:nvGrpSpPr>
            <p:grpSpPr>
              <a:xfrm>
                <a:off x="10454502" y="4380899"/>
                <a:ext cx="2967997" cy="2729558"/>
                <a:chOff x="5099526" y="4005806"/>
                <a:chExt cx="2967997" cy="2729558"/>
              </a:xfrm>
            </p:grpSpPr>
            <p:grpSp>
              <p:nvGrpSpPr>
                <p:cNvPr id="336" name="Gruppieren 335">
                  <a:extLst>
                    <a:ext uri="{FF2B5EF4-FFF2-40B4-BE49-F238E27FC236}">
                      <a16:creationId xmlns:a16="http://schemas.microsoft.com/office/drawing/2014/main" id="{EBA5CB31-7EBE-423C-9A0A-2EF98E5F92CA}"/>
                    </a:ext>
                  </a:extLst>
                </p:cNvPr>
                <p:cNvGrpSpPr/>
                <p:nvPr/>
              </p:nvGrpSpPr>
              <p:grpSpPr>
                <a:xfrm>
                  <a:off x="5099526" y="4320395"/>
                  <a:ext cx="2967997" cy="2414969"/>
                  <a:chOff x="5099526" y="4320395"/>
                  <a:chExt cx="2967997" cy="2414969"/>
                </a:xfrm>
              </p:grpSpPr>
              <p:grpSp>
                <p:nvGrpSpPr>
                  <p:cNvPr id="338" name="Gruppieren 337">
                    <a:extLst>
                      <a:ext uri="{FF2B5EF4-FFF2-40B4-BE49-F238E27FC236}">
                        <a16:creationId xmlns:a16="http://schemas.microsoft.com/office/drawing/2014/main" id="{7DFC457C-C8B6-43BF-BE2D-88BF8406F20C}"/>
                      </a:ext>
                    </a:extLst>
                  </p:cNvPr>
                  <p:cNvGrpSpPr/>
                  <p:nvPr/>
                </p:nvGrpSpPr>
                <p:grpSpPr>
                  <a:xfrm>
                    <a:off x="5099526" y="4320395"/>
                    <a:ext cx="2967997" cy="2414969"/>
                    <a:chOff x="5357638" y="3096117"/>
                    <a:chExt cx="2967997" cy="2414969"/>
                  </a:xfrm>
                </p:grpSpPr>
                <p:grpSp>
                  <p:nvGrpSpPr>
                    <p:cNvPr id="340" name="Gruppieren 339">
                      <a:extLst>
                        <a:ext uri="{FF2B5EF4-FFF2-40B4-BE49-F238E27FC236}">
                          <a16:creationId xmlns:a16="http://schemas.microsoft.com/office/drawing/2014/main" id="{88C48F4A-E08F-4BD1-A84E-C9B3D53304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361759" y="3179543"/>
                      <a:ext cx="2382761" cy="2331543"/>
                      <a:chOff x="8045450" y="1893888"/>
                      <a:chExt cx="4875213" cy="4875212"/>
                    </a:xfrm>
                  </p:grpSpPr>
                  <p:cxnSp>
                    <p:nvCxnSpPr>
                      <p:cNvPr id="347" name="Gerader Verbinder 45">
                        <a:extLst>
                          <a:ext uri="{FF2B5EF4-FFF2-40B4-BE49-F238E27FC236}">
                            <a16:creationId xmlns:a16="http://schemas.microsoft.com/office/drawing/2014/main" id="{5EC8E58F-6618-4851-9029-75BFB1460A2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74077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8" name="Gerader Verbinder 46">
                        <a:extLst>
                          <a:ext uri="{FF2B5EF4-FFF2-40B4-BE49-F238E27FC236}">
                            <a16:creationId xmlns:a16="http://schemas.microsoft.com/office/drawing/2014/main" id="{247A9503-4071-422B-98A0-1C257A0B2E3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943610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9" name="Gerader Verbinder 47">
                        <a:extLst>
                          <a:ext uri="{FF2B5EF4-FFF2-40B4-BE49-F238E27FC236}">
                            <a16:creationId xmlns:a16="http://schemas.microsoft.com/office/drawing/2014/main" id="{373E3495-5B0C-4D70-A5E2-32EC191A3AE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131425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0" name="Gerader Verbinder 48">
                        <a:extLst>
                          <a:ext uri="{FF2B5EF4-FFF2-40B4-BE49-F238E27FC236}">
                            <a16:creationId xmlns:a16="http://schemas.microsoft.com/office/drawing/2014/main" id="{33C7FA54-C7B5-440C-A822-C2178C98185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082833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1" name="Gerader Verbinder 49">
                        <a:extLst>
                          <a:ext uri="{FF2B5EF4-FFF2-40B4-BE49-F238E27FC236}">
                            <a16:creationId xmlns:a16="http://schemas.microsoft.com/office/drawing/2014/main" id="{7FF40883-B162-4C28-8CF0-DDF4BEBFB76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152366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2" name="Gerader Verbinder 50">
                        <a:extLst>
                          <a:ext uri="{FF2B5EF4-FFF2-40B4-BE49-F238E27FC236}">
                            <a16:creationId xmlns:a16="http://schemas.microsoft.com/office/drawing/2014/main" id="{C2AF7675-4D8C-49D8-AC98-B2D57751385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218988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3" name="Gerader Verbinder 51">
                        <a:extLst>
                          <a:ext uri="{FF2B5EF4-FFF2-40B4-BE49-F238E27FC236}">
                            <a16:creationId xmlns:a16="http://schemas.microsoft.com/office/drawing/2014/main" id="{F6170365-C5FA-43B1-AAA3-4B13275C3A1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12914313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4" name="Gerader Verbinder 52">
                        <a:extLst>
                          <a:ext uri="{FF2B5EF4-FFF2-40B4-BE49-F238E27FC236}">
                            <a16:creationId xmlns:a16="http://schemas.microsoft.com/office/drawing/2014/main" id="{AD2A02C2-6C44-4BDA-9570-A2B6963FC7F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893888"/>
                        <a:ext cx="0" cy="4875212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5" name="Gerader Verbinder 53">
                        <a:extLst>
                          <a:ext uri="{FF2B5EF4-FFF2-40B4-BE49-F238E27FC236}">
                            <a16:creationId xmlns:a16="http://schemas.microsoft.com/office/drawing/2014/main" id="{2CD8A885-DDB3-4374-8D06-3E9C1A3F3F1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19050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6" name="Gerader Verbinder 54">
                        <a:extLst>
                          <a:ext uri="{FF2B5EF4-FFF2-40B4-BE49-F238E27FC236}">
                            <a16:creationId xmlns:a16="http://schemas.microsoft.com/office/drawing/2014/main" id="{2A398E4C-6F1F-43C3-AD57-6AA74B1E653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2600325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7" name="Gerader Verbinder 55">
                        <a:extLst>
                          <a:ext uri="{FF2B5EF4-FFF2-40B4-BE49-F238E27FC236}">
                            <a16:creationId xmlns:a16="http://schemas.microsoft.com/office/drawing/2014/main" id="{F91E8F96-3FF0-4CD9-9987-472693A403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2940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8" name="Gerader Verbinder 56">
                        <a:extLst>
                          <a:ext uri="{FF2B5EF4-FFF2-40B4-BE49-F238E27FC236}">
                            <a16:creationId xmlns:a16="http://schemas.microsoft.com/office/drawing/2014/main" id="{D3BCA275-D5D9-4147-B27A-3D45DE8BC91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39878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9" name="Gerader Verbinder 57">
                        <a:extLst>
                          <a:ext uri="{FF2B5EF4-FFF2-40B4-BE49-F238E27FC236}">
                            <a16:creationId xmlns:a16="http://schemas.microsoft.com/office/drawing/2014/main" id="{8CB0A1FB-A127-461B-BD70-E87640E9638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46815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0" name="Gerader Verbinder 58">
                        <a:extLst>
                          <a:ext uri="{FF2B5EF4-FFF2-40B4-BE49-F238E27FC236}">
                            <a16:creationId xmlns:a16="http://schemas.microsoft.com/office/drawing/2014/main" id="{F9CE207F-5477-42C8-8602-05A70BCC206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5376863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1" name="Gerader Verbinder 59">
                        <a:extLst>
                          <a:ext uri="{FF2B5EF4-FFF2-40B4-BE49-F238E27FC236}">
                            <a16:creationId xmlns:a16="http://schemas.microsoft.com/office/drawing/2014/main" id="{53943720-3598-4721-B997-92E556BD8F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764338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2" name="Gerader Verbinder 60">
                        <a:extLst>
                          <a:ext uri="{FF2B5EF4-FFF2-40B4-BE49-F238E27FC236}">
                            <a16:creationId xmlns:a16="http://schemas.microsoft.com/office/drawing/2014/main" id="{FE0E0EFC-772C-41B7-9BBD-C1C5F6A7E08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 bwMode="auto">
                      <a:xfrm>
                        <a:off x="8045450" y="6070600"/>
                        <a:ext cx="4875213" cy="0"/>
                      </a:xfrm>
                      <a:prstGeom prst="line">
                        <a:avLst/>
                      </a:prstGeom>
                      <a:noFill/>
                      <a:ln w="25400" algn="ctr">
                        <a:solidFill>
                          <a:srgbClr val="FFC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  <p:sp>
                  <p:nvSpPr>
                    <p:cNvPr id="341" name="Textfeld 340">
                      <a:extLst>
                        <a:ext uri="{FF2B5EF4-FFF2-40B4-BE49-F238E27FC236}">
                          <a16:creationId xmlns:a16="http://schemas.microsoft.com/office/drawing/2014/main" id="{1EB1FEE8-4961-44D4-9611-C65EE700B77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9094" y="3096117"/>
                      <a:ext cx="2527131" cy="666849"/>
                    </a:xfrm>
                    <a:prstGeom prst="rect">
                      <a:avLst/>
                    </a:prstGeom>
                    <a:noFill/>
                  </p:spPr>
                  <p:txBody>
                    <a:bodyPr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2" name="Rechteck 341">
                      <a:extLst>
                        <a:ext uri="{FF2B5EF4-FFF2-40B4-BE49-F238E27FC236}">
                          <a16:creationId xmlns:a16="http://schemas.microsoft.com/office/drawing/2014/main" id="{4BE06914-4A64-4E25-A3A9-56189BD1A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10" y="340508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3" name="Rechteck 342">
                      <a:extLst>
                        <a:ext uri="{FF2B5EF4-FFF2-40B4-BE49-F238E27FC236}">
                          <a16:creationId xmlns:a16="http://schemas.microsoft.com/office/drawing/2014/main" id="{18DA3809-F405-4D03-8CCF-CACE4AA53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80" y="3736857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4" name="Rechteck 343">
                      <a:extLst>
                        <a:ext uri="{FF2B5EF4-FFF2-40B4-BE49-F238E27FC236}">
                          <a16:creationId xmlns:a16="http://schemas.microsoft.com/office/drawing/2014/main" id="{9988B52A-4A0D-4376-A7CD-7A63D0236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7638" y="441133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5" name="Rechteck 344">
                      <a:extLst>
                        <a:ext uri="{FF2B5EF4-FFF2-40B4-BE49-F238E27FC236}">
                          <a16:creationId xmlns:a16="http://schemas.microsoft.com/office/drawing/2014/main" id="{2D3E8C1F-B93D-4677-836E-30C82A59B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64309" y="4728680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</a:t>
                      </a:r>
                      <a:r>
                        <a:rPr lang="de-DE" sz="2200" b="1" dirty="0">
                          <a:solidFill>
                            <a:srgbClr val="FF0000"/>
                          </a:solidFill>
                        </a:rPr>
                        <a:t>67</a:t>
                      </a:r>
                      <a:r>
                        <a:rPr lang="de-DE" sz="2800" dirty="0"/>
                        <a:t>   0    0	</a:t>
                      </a:r>
                      <a:endParaRPr lang="en-US" sz="2800" dirty="0"/>
                    </a:p>
                  </p:txBody>
                </p:sp>
                <p:sp>
                  <p:nvSpPr>
                    <p:cNvPr id="346" name="Rechteck 345">
                      <a:extLst>
                        <a:ext uri="{FF2B5EF4-FFF2-40B4-BE49-F238E27FC236}">
                          <a16:creationId xmlns:a16="http://schemas.microsoft.com/office/drawing/2014/main" id="{58426C5B-B9E2-41EF-BDBE-6CB72351E0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0979" y="5062051"/>
                      <a:ext cx="2954655" cy="379591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>
                        <a:defRPr/>
                      </a:pPr>
                      <a:r>
                        <a:rPr lang="de-DE" sz="2800" dirty="0"/>
                        <a:t>0    0    0    0   0    0    0	</a:t>
                      </a:r>
                      <a:endParaRPr lang="en-US" sz="2800" dirty="0"/>
                    </a:p>
                  </p:txBody>
                </p:sp>
              </p:grpSp>
              <p:sp>
                <p:nvSpPr>
                  <p:cNvPr id="339" name="Rechteck 338">
                    <a:extLst>
                      <a:ext uri="{FF2B5EF4-FFF2-40B4-BE49-F238E27FC236}">
                        <a16:creationId xmlns:a16="http://schemas.microsoft.com/office/drawing/2014/main" id="{546EA1F2-AB55-45EE-83D1-F2AB31120308}"/>
                      </a:ext>
                    </a:extLst>
                  </p:cNvPr>
                  <p:cNvSpPr/>
                  <p:nvPr/>
                </p:nvSpPr>
                <p:spPr>
                  <a:xfrm>
                    <a:off x="5106197" y="53078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</a:t>
                    </a:r>
                    <a:r>
                      <a:rPr lang="de-DE" sz="2200" b="1" dirty="0">
                        <a:solidFill>
                          <a:srgbClr val="FF0000"/>
                        </a:solidFill>
                      </a:rPr>
                      <a:t>105</a:t>
                    </a:r>
                    <a:r>
                      <a:rPr lang="de-DE" sz="2800" dirty="0"/>
                      <a:t>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337" name="Textfeld 336">
                  <a:extLst>
                    <a:ext uri="{FF2B5EF4-FFF2-40B4-BE49-F238E27FC236}">
                      <a16:creationId xmlns:a16="http://schemas.microsoft.com/office/drawing/2014/main" id="{0C6A59AE-8C24-4267-AEBA-E3A5AA391ACA}"/>
                    </a:ext>
                  </a:extLst>
                </p:cNvPr>
                <p:cNvSpPr txBox="1"/>
                <p:nvPr/>
              </p:nvSpPr>
              <p:spPr>
                <a:xfrm>
                  <a:off x="5704995" y="40058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height</a:t>
                  </a:r>
                  <a:endParaRPr lang="en-US" b="1" dirty="0"/>
                </a:p>
              </p:txBody>
            </p:sp>
          </p:grpSp>
          <p:sp>
            <p:nvSpPr>
              <p:cNvPr id="396" name="Rechteck 395">
                <a:extLst>
                  <a:ext uri="{FF2B5EF4-FFF2-40B4-BE49-F238E27FC236}">
                    <a16:creationId xmlns:a16="http://schemas.microsoft.com/office/drawing/2014/main" id="{06EA3872-B7D0-4298-90E8-BD235DD7C3CE}"/>
                  </a:ext>
                </a:extLst>
              </p:cNvPr>
              <p:cNvSpPr/>
              <p:nvPr/>
            </p:nvSpPr>
            <p:spPr bwMode="auto">
              <a:xfrm>
                <a:off x="10456688" y="4781952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grpSp>
          <p:nvGrpSpPr>
            <p:cNvPr id="398" name="Gruppieren 397">
              <a:extLst>
                <a:ext uri="{FF2B5EF4-FFF2-40B4-BE49-F238E27FC236}">
                  <a16:creationId xmlns:a16="http://schemas.microsoft.com/office/drawing/2014/main" id="{6ACA4937-6F2D-4C36-BEAD-46261DCCEEE8}"/>
                </a:ext>
              </a:extLst>
            </p:cNvPr>
            <p:cNvGrpSpPr/>
            <p:nvPr/>
          </p:nvGrpSpPr>
          <p:grpSpPr>
            <a:xfrm>
              <a:off x="312763" y="4291999"/>
              <a:ext cx="2967997" cy="2719832"/>
              <a:chOff x="207572" y="4405181"/>
              <a:chExt cx="2967997" cy="2719832"/>
            </a:xfrm>
            <a:scene3d>
              <a:camera prst="isometricLeftDown">
                <a:rot lat="1800000" lon="1800000" rev="0"/>
              </a:camera>
              <a:lightRig rig="threePt" dir="t"/>
            </a:scene3d>
          </p:grpSpPr>
          <p:grpSp>
            <p:nvGrpSpPr>
              <p:cNvPr id="399" name="Gruppieren 398">
                <a:extLst>
                  <a:ext uri="{FF2B5EF4-FFF2-40B4-BE49-F238E27FC236}">
                    <a16:creationId xmlns:a16="http://schemas.microsoft.com/office/drawing/2014/main" id="{0930B1E8-6CCE-44C8-B650-E9C82ED51CB1}"/>
                  </a:ext>
                </a:extLst>
              </p:cNvPr>
              <p:cNvGrpSpPr/>
              <p:nvPr/>
            </p:nvGrpSpPr>
            <p:grpSpPr>
              <a:xfrm>
                <a:off x="207572" y="4405181"/>
                <a:ext cx="2967997" cy="2719832"/>
                <a:chOff x="5092857" y="1456006"/>
                <a:chExt cx="2967997" cy="2719832"/>
              </a:xfrm>
            </p:grpSpPr>
            <p:grpSp>
              <p:nvGrpSpPr>
                <p:cNvPr id="401" name="Gruppieren 400">
                  <a:extLst>
                    <a:ext uri="{FF2B5EF4-FFF2-40B4-BE49-F238E27FC236}">
                      <a16:creationId xmlns:a16="http://schemas.microsoft.com/office/drawing/2014/main" id="{D2B179B2-76C4-4E15-8E65-E5A848C50F9C}"/>
                    </a:ext>
                  </a:extLst>
                </p:cNvPr>
                <p:cNvGrpSpPr/>
                <p:nvPr/>
              </p:nvGrpSpPr>
              <p:grpSpPr>
                <a:xfrm>
                  <a:off x="5092857" y="1760869"/>
                  <a:ext cx="2967997" cy="2414969"/>
                  <a:chOff x="5357638" y="3096117"/>
                  <a:chExt cx="2967997" cy="2414969"/>
                </a:xfrm>
              </p:grpSpPr>
              <p:grpSp>
                <p:nvGrpSpPr>
                  <p:cNvPr id="403" name="Gruppieren 402">
                    <a:extLst>
                      <a:ext uri="{FF2B5EF4-FFF2-40B4-BE49-F238E27FC236}">
                        <a16:creationId xmlns:a16="http://schemas.microsoft.com/office/drawing/2014/main" id="{8B2A7383-7BCB-4002-BBB3-533D9BE859F4}"/>
                      </a:ext>
                    </a:extLst>
                  </p:cNvPr>
                  <p:cNvGrpSpPr/>
                  <p:nvPr/>
                </p:nvGrpSpPr>
                <p:grpSpPr>
                  <a:xfrm>
                    <a:off x="5361759" y="3179543"/>
                    <a:ext cx="2382761" cy="2331543"/>
                    <a:chOff x="8045450" y="1893888"/>
                    <a:chExt cx="4875213" cy="4875212"/>
                  </a:xfrm>
                </p:grpSpPr>
                <p:cxnSp>
                  <p:nvCxnSpPr>
                    <p:cNvPr id="413" name="Gerader Verbinder 45">
                      <a:extLst>
                        <a:ext uri="{FF2B5EF4-FFF2-40B4-BE49-F238E27FC236}">
                          <a16:creationId xmlns:a16="http://schemas.microsoft.com/office/drawing/2014/main" id="{4F460E29-0C70-4123-8A5D-516008D9E1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74077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4" name="Gerader Verbinder 46">
                      <a:extLst>
                        <a:ext uri="{FF2B5EF4-FFF2-40B4-BE49-F238E27FC236}">
                          <a16:creationId xmlns:a16="http://schemas.microsoft.com/office/drawing/2014/main" id="{72EDC40B-5D3F-4617-A681-12B284A7062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943610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5" name="Gerader Verbinder 47">
                      <a:extLst>
                        <a:ext uri="{FF2B5EF4-FFF2-40B4-BE49-F238E27FC236}">
                          <a16:creationId xmlns:a16="http://schemas.microsoft.com/office/drawing/2014/main" id="{F89C049C-040F-4C45-9781-59341BCF850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131425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6" name="Gerader Verbinder 48">
                      <a:extLst>
                        <a:ext uri="{FF2B5EF4-FFF2-40B4-BE49-F238E27FC236}">
                          <a16:creationId xmlns:a16="http://schemas.microsoft.com/office/drawing/2014/main" id="{1670188C-DED3-46AB-B33C-4E62995F53F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082833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7" name="Gerader Verbinder 49">
                      <a:extLst>
                        <a:ext uri="{FF2B5EF4-FFF2-40B4-BE49-F238E27FC236}">
                          <a16:creationId xmlns:a16="http://schemas.microsoft.com/office/drawing/2014/main" id="{F50A5AE6-9A31-492D-B223-510BABEEC5E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152366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8" name="Gerader Verbinder 50">
                      <a:extLst>
                        <a:ext uri="{FF2B5EF4-FFF2-40B4-BE49-F238E27FC236}">
                          <a16:creationId xmlns:a16="http://schemas.microsoft.com/office/drawing/2014/main" id="{330FC454-A5C8-4AA3-AD70-432732DE1F9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218988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19" name="Gerader Verbinder 51">
                      <a:extLst>
                        <a:ext uri="{FF2B5EF4-FFF2-40B4-BE49-F238E27FC236}">
                          <a16:creationId xmlns:a16="http://schemas.microsoft.com/office/drawing/2014/main" id="{ABFA2445-5234-4A6D-96AD-8923632C0BA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12914313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0" name="Gerader Verbinder 52">
                      <a:extLst>
                        <a:ext uri="{FF2B5EF4-FFF2-40B4-BE49-F238E27FC236}">
                          <a16:creationId xmlns:a16="http://schemas.microsoft.com/office/drawing/2014/main" id="{AB34BE73-4899-4A9B-916D-4502FB93FFE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893888"/>
                      <a:ext cx="0" cy="4875212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1" name="Gerader Verbinder 53">
                      <a:extLst>
                        <a:ext uri="{FF2B5EF4-FFF2-40B4-BE49-F238E27FC236}">
                          <a16:creationId xmlns:a16="http://schemas.microsoft.com/office/drawing/2014/main" id="{CAEB8FFE-BB2C-4C55-A268-04145764C1F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19050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2" name="Gerader Verbinder 54">
                      <a:extLst>
                        <a:ext uri="{FF2B5EF4-FFF2-40B4-BE49-F238E27FC236}">
                          <a16:creationId xmlns:a16="http://schemas.microsoft.com/office/drawing/2014/main" id="{CD23E71A-151B-4A0F-BA0B-3E7666EA395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2600325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3" name="Gerader Verbinder 55">
                      <a:extLst>
                        <a:ext uri="{FF2B5EF4-FFF2-40B4-BE49-F238E27FC236}">
                          <a16:creationId xmlns:a16="http://schemas.microsoft.com/office/drawing/2014/main" id="{0A787E22-9CA4-4074-85CB-7FE5A41C031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2940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4" name="Gerader Verbinder 56">
                      <a:extLst>
                        <a:ext uri="{FF2B5EF4-FFF2-40B4-BE49-F238E27FC236}">
                          <a16:creationId xmlns:a16="http://schemas.microsoft.com/office/drawing/2014/main" id="{6A353063-C147-4E5C-9DA4-66ED851516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39878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5" name="Gerader Verbinder 57">
                      <a:extLst>
                        <a:ext uri="{FF2B5EF4-FFF2-40B4-BE49-F238E27FC236}">
                          <a16:creationId xmlns:a16="http://schemas.microsoft.com/office/drawing/2014/main" id="{C7D3A198-FD08-4369-8B72-0DCEA3E774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46815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6" name="Gerader Verbinder 58">
                      <a:extLst>
                        <a:ext uri="{FF2B5EF4-FFF2-40B4-BE49-F238E27FC236}">
                          <a16:creationId xmlns:a16="http://schemas.microsoft.com/office/drawing/2014/main" id="{2CC71280-C779-4DFB-8C9C-EE09818ECAA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5376863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7" name="Gerader Verbinder 59">
                      <a:extLst>
                        <a:ext uri="{FF2B5EF4-FFF2-40B4-BE49-F238E27FC236}">
                          <a16:creationId xmlns:a16="http://schemas.microsoft.com/office/drawing/2014/main" id="{12981AB4-6A05-4D07-918F-A1D6B5AF5AA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764338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428" name="Gerader Verbinder 60">
                      <a:extLst>
                        <a:ext uri="{FF2B5EF4-FFF2-40B4-BE49-F238E27FC236}">
                          <a16:creationId xmlns:a16="http://schemas.microsoft.com/office/drawing/2014/main" id="{C548058E-96C8-49D4-90D8-D4E6F3DF19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 bwMode="auto">
                    <a:xfrm>
                      <a:off x="8045450" y="6070600"/>
                      <a:ext cx="4875213" cy="0"/>
                    </a:xfrm>
                    <a:prstGeom prst="line">
                      <a:avLst/>
                    </a:prstGeom>
                    <a:noFill/>
                    <a:ln w="25400" algn="ctr">
                      <a:solidFill>
                        <a:srgbClr val="FFC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sp>
                <p:nvSpPr>
                  <p:cNvPr id="404" name="Textfeld 403">
                    <a:extLst>
                      <a:ext uri="{FF2B5EF4-FFF2-40B4-BE49-F238E27FC236}">
                        <a16:creationId xmlns:a16="http://schemas.microsoft.com/office/drawing/2014/main" id="{422CCF9A-95AE-4DFD-9BC5-61800DABF6E9}"/>
                      </a:ext>
                    </a:extLst>
                  </p:cNvPr>
                  <p:cNvSpPr txBox="1"/>
                  <p:nvPr/>
                </p:nvSpPr>
                <p:spPr>
                  <a:xfrm>
                    <a:off x="6732522" y="4751059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5" name="Textfeld 404">
                    <a:extLst>
                      <a:ext uri="{FF2B5EF4-FFF2-40B4-BE49-F238E27FC236}">
                        <a16:creationId xmlns:a16="http://schemas.microsoft.com/office/drawing/2014/main" id="{E6D74F6A-6855-4591-B5D2-5C53B475B4BC}"/>
                      </a:ext>
                    </a:extLst>
                  </p:cNvPr>
                  <p:cNvSpPr txBox="1"/>
                  <p:nvPr/>
                </p:nvSpPr>
                <p:spPr>
                  <a:xfrm>
                    <a:off x="6400803" y="4079555"/>
                    <a:ext cx="337158" cy="379591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b="1" dirty="0">
                        <a:solidFill>
                          <a:srgbClr val="FF0000"/>
                        </a:solidFill>
                      </a:rPr>
                      <a:t>1</a:t>
                    </a:r>
                    <a:endParaRPr lang="en-US" sz="2800" b="1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406" name="Textfeld 405">
                    <a:extLst>
                      <a:ext uri="{FF2B5EF4-FFF2-40B4-BE49-F238E27FC236}">
                        <a16:creationId xmlns:a16="http://schemas.microsoft.com/office/drawing/2014/main" id="{9C56D975-0452-468C-BE24-F06D387E882F}"/>
                      </a:ext>
                    </a:extLst>
                  </p:cNvPr>
                  <p:cNvSpPr txBox="1"/>
                  <p:nvPr/>
                </p:nvSpPr>
                <p:spPr>
                  <a:xfrm>
                    <a:off x="5359094" y="3096117"/>
                    <a:ext cx="2527131" cy="666849"/>
                  </a:xfrm>
                  <a:prstGeom prst="rect">
                    <a:avLst/>
                  </a:prstGeom>
                  <a:noFill/>
                </p:spPr>
                <p:txBody>
                  <a:bodyPr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7" name="Rechteck 406">
                    <a:extLst>
                      <a:ext uri="{FF2B5EF4-FFF2-40B4-BE49-F238E27FC236}">
                        <a16:creationId xmlns:a16="http://schemas.microsoft.com/office/drawing/2014/main" id="{21812D68-39B8-43C9-9928-D4E23DA4B93E}"/>
                      </a:ext>
                    </a:extLst>
                  </p:cNvPr>
                  <p:cNvSpPr/>
                  <p:nvPr/>
                </p:nvSpPr>
                <p:spPr>
                  <a:xfrm>
                    <a:off x="5364310" y="340508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8" name="Rechteck 407">
                    <a:extLst>
                      <a:ext uri="{FF2B5EF4-FFF2-40B4-BE49-F238E27FC236}">
                        <a16:creationId xmlns:a16="http://schemas.microsoft.com/office/drawing/2014/main" id="{A6B69ADD-E879-47D9-8BDE-A920ADC7F08B}"/>
                      </a:ext>
                    </a:extLst>
                  </p:cNvPr>
                  <p:cNvSpPr/>
                  <p:nvPr/>
                </p:nvSpPr>
                <p:spPr>
                  <a:xfrm>
                    <a:off x="5370980" y="3736857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09" name="Rechteck 408">
                    <a:extLst>
                      <a:ext uri="{FF2B5EF4-FFF2-40B4-BE49-F238E27FC236}">
                        <a16:creationId xmlns:a16="http://schemas.microsoft.com/office/drawing/2014/main" id="{0AB43C8F-BE96-4E18-85EC-89BABA4DE5BA}"/>
                      </a:ext>
                    </a:extLst>
                  </p:cNvPr>
                  <p:cNvSpPr/>
                  <p:nvPr/>
                </p:nvSpPr>
                <p:spPr>
                  <a:xfrm>
                    <a:off x="5364309" y="4083573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     0    0    0	</a:t>
                    </a:r>
                    <a:endParaRPr lang="en-US" sz="2800" dirty="0"/>
                  </a:p>
                </p:txBody>
              </p:sp>
              <p:sp>
                <p:nvSpPr>
                  <p:cNvPr id="410" name="Rechteck 409">
                    <a:extLst>
                      <a:ext uri="{FF2B5EF4-FFF2-40B4-BE49-F238E27FC236}">
                        <a16:creationId xmlns:a16="http://schemas.microsoft.com/office/drawing/2014/main" id="{6A599092-930B-4A70-B5A5-3FC5FD4842E6}"/>
                      </a:ext>
                    </a:extLst>
                  </p:cNvPr>
                  <p:cNvSpPr/>
                  <p:nvPr/>
                </p:nvSpPr>
                <p:spPr>
                  <a:xfrm>
                    <a:off x="5357638" y="441133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  <p:sp>
                <p:nvSpPr>
                  <p:cNvPr id="411" name="Rechteck 410">
                    <a:extLst>
                      <a:ext uri="{FF2B5EF4-FFF2-40B4-BE49-F238E27FC236}">
                        <a16:creationId xmlns:a16="http://schemas.microsoft.com/office/drawing/2014/main" id="{27A302F4-6663-4763-950A-0838B5914126}"/>
                      </a:ext>
                    </a:extLst>
                  </p:cNvPr>
                  <p:cNvSpPr/>
                  <p:nvPr/>
                </p:nvSpPr>
                <p:spPr>
                  <a:xfrm>
                    <a:off x="5364309" y="4728680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      0    0	</a:t>
                    </a:r>
                    <a:endParaRPr lang="en-US" sz="2800" dirty="0"/>
                  </a:p>
                </p:txBody>
              </p:sp>
              <p:sp>
                <p:nvSpPr>
                  <p:cNvPr id="412" name="Rechteck 411">
                    <a:extLst>
                      <a:ext uri="{FF2B5EF4-FFF2-40B4-BE49-F238E27FC236}">
                        <a16:creationId xmlns:a16="http://schemas.microsoft.com/office/drawing/2014/main" id="{2F6A706A-CB42-42FA-A814-24D5677DCFEF}"/>
                      </a:ext>
                    </a:extLst>
                  </p:cNvPr>
                  <p:cNvSpPr/>
                  <p:nvPr/>
                </p:nvSpPr>
                <p:spPr>
                  <a:xfrm>
                    <a:off x="5370979" y="5062051"/>
                    <a:ext cx="2954655" cy="37959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>
                      <a:defRPr/>
                    </a:pPr>
                    <a:r>
                      <a:rPr lang="de-DE" sz="2800" dirty="0"/>
                      <a:t>0    0    0    0   0    0    0	</a:t>
                    </a:r>
                    <a:endParaRPr lang="en-US" sz="2800" dirty="0"/>
                  </a:p>
                </p:txBody>
              </p:sp>
            </p:grpSp>
            <p:sp>
              <p:nvSpPr>
                <p:cNvPr id="402" name="Textfeld 401">
                  <a:extLst>
                    <a:ext uri="{FF2B5EF4-FFF2-40B4-BE49-F238E27FC236}">
                      <a16:creationId xmlns:a16="http://schemas.microsoft.com/office/drawing/2014/main" id="{DB2C4376-2D0F-4BB7-B6B7-DC843D0B9D86}"/>
                    </a:ext>
                  </a:extLst>
                </p:cNvPr>
                <p:cNvSpPr txBox="1"/>
                <p:nvPr/>
              </p:nvSpPr>
              <p:spPr>
                <a:xfrm>
                  <a:off x="5701266" y="1456006"/>
                  <a:ext cx="1174184" cy="359073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b="1" dirty="0" err="1"/>
                    <a:t>objectness</a:t>
                  </a:r>
                  <a:endParaRPr lang="en-US" b="1" dirty="0"/>
                </a:p>
              </p:txBody>
            </p:sp>
          </p:grpSp>
          <p:sp>
            <p:nvSpPr>
              <p:cNvPr id="400" name="Rechteck 399">
                <a:extLst>
                  <a:ext uri="{FF2B5EF4-FFF2-40B4-BE49-F238E27FC236}">
                    <a16:creationId xmlns:a16="http://schemas.microsoft.com/office/drawing/2014/main" id="{E08486ED-A737-4425-B31A-8EA9AF6EF044}"/>
                  </a:ext>
                </a:extLst>
              </p:cNvPr>
              <p:cNvSpPr/>
              <p:nvPr/>
            </p:nvSpPr>
            <p:spPr bwMode="auto">
              <a:xfrm>
                <a:off x="211693" y="4796507"/>
                <a:ext cx="2380751" cy="2323952"/>
              </a:xfrm>
              <a:prstGeom prst="rect">
                <a:avLst/>
              </a:prstGeom>
              <a:noFill/>
              <a:ln w="254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1008063">
                  <a:defRPr/>
                </a:pPr>
                <a:endParaRPr lang="en-US" dirty="0"/>
              </a:p>
            </p:txBody>
          </p:sp>
        </p:grpSp>
        <p:sp>
          <p:nvSpPr>
            <p:cNvPr id="504" name="Rechteck 503">
              <a:extLst>
                <a:ext uri="{FF2B5EF4-FFF2-40B4-BE49-F238E27FC236}">
                  <a16:creationId xmlns:a16="http://schemas.microsoft.com/office/drawing/2014/main" id="{76A7CD1A-9ABF-4000-B89D-1FD409394879}"/>
                </a:ext>
              </a:extLst>
            </p:cNvPr>
            <p:cNvSpPr/>
            <p:nvPr/>
          </p:nvSpPr>
          <p:spPr>
            <a:xfrm>
              <a:off x="6771067" y="4111021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6A7AFDA5-DC05-493B-9836-58D755963881}"/>
                </a:ext>
              </a:extLst>
            </p:cNvPr>
            <p:cNvSpPr/>
            <p:nvPr/>
          </p:nvSpPr>
          <p:spPr>
            <a:xfrm>
              <a:off x="6775062" y="4289132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2F1B3D74-43C2-4B8D-B6A3-9D226D7432E8}"/>
                </a:ext>
              </a:extLst>
            </p:cNvPr>
            <p:cNvSpPr/>
            <p:nvPr/>
          </p:nvSpPr>
          <p:spPr>
            <a:xfrm>
              <a:off x="6779056" y="4476235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6C9AF85C-FF57-40C6-8385-8BF12319B879}"/>
                </a:ext>
              </a:extLst>
            </p:cNvPr>
            <p:cNvSpPr/>
            <p:nvPr/>
          </p:nvSpPr>
          <p:spPr>
            <a:xfrm>
              <a:off x="12120348" y="5989496"/>
              <a:ext cx="110616" cy="213044"/>
            </a:xfrm>
            <a:prstGeom prst="rect">
              <a:avLst/>
            </a:prstGeom>
            <a:scene3d>
              <a:camera prst="isometricLeftDown">
                <a:rot lat="0" lon="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sz="2800" dirty="0"/>
            </a:p>
          </p:txBody>
        </p:sp>
      </p:grpSp>
      <p:sp>
        <p:nvSpPr>
          <p:cNvPr id="9233" name="Textfeld 799">
            <a:extLst>
              <a:ext uri="{FF2B5EF4-FFF2-40B4-BE49-F238E27FC236}">
                <a16:creationId xmlns:a16="http://schemas.microsoft.com/office/drawing/2014/main" id="{30C4F07C-B4CA-4675-86CA-62A5779838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9250" y="349885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input image</a:t>
            </a:r>
            <a:endParaRPr lang="en-US" altLang="en-US" sz="2000"/>
          </a:p>
        </p:txBody>
      </p:sp>
      <p:grpSp>
        <p:nvGrpSpPr>
          <p:cNvPr id="9234" name="Gruppieren 8231">
            <a:extLst>
              <a:ext uri="{FF2B5EF4-FFF2-40B4-BE49-F238E27FC236}">
                <a16:creationId xmlns:a16="http://schemas.microsoft.com/office/drawing/2014/main" id="{07EA1BF2-7994-4B81-89AC-ED20CFDFB611}"/>
              </a:ext>
            </a:extLst>
          </p:cNvPr>
          <p:cNvGrpSpPr>
            <a:grpSpLocks/>
          </p:cNvGrpSpPr>
          <p:nvPr/>
        </p:nvGrpSpPr>
        <p:grpSpPr bwMode="auto">
          <a:xfrm>
            <a:off x="1174750" y="2097088"/>
            <a:ext cx="1301750" cy="319087"/>
            <a:chOff x="1196991" y="2100751"/>
            <a:chExt cx="1302875" cy="319200"/>
          </a:xfrm>
        </p:grpSpPr>
        <p:sp>
          <p:nvSpPr>
            <p:cNvPr id="9257" name="Textfeld 8226">
              <a:extLst>
                <a:ext uri="{FF2B5EF4-FFF2-40B4-BE49-F238E27FC236}">
                  <a16:creationId xmlns:a16="http://schemas.microsoft.com/office/drawing/2014/main" id="{83A41BAB-890B-4A8B-9E09-42A80BF3E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448x448x3</a:t>
              </a:r>
              <a:endParaRPr lang="en-US" altLang="en-US" sz="1800"/>
            </a:p>
          </p:txBody>
        </p:sp>
        <p:cxnSp>
          <p:nvCxnSpPr>
            <p:cNvPr id="9258" name="Gerade Verbindung mit Pfeil 8229">
              <a:extLst>
                <a:ext uri="{FF2B5EF4-FFF2-40B4-BE49-F238E27FC236}">
                  <a16:creationId xmlns:a16="http://schemas.microsoft.com/office/drawing/2014/main" id="{810767DB-CF9C-47C7-BDBE-B3EDBEDCF49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77348" cy="3026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5" name="Gruppieren 804">
            <a:extLst>
              <a:ext uri="{FF2B5EF4-FFF2-40B4-BE49-F238E27FC236}">
                <a16:creationId xmlns:a16="http://schemas.microsoft.com/office/drawing/2014/main" id="{9926EB20-DCD3-4590-9F06-92F66CEC10AD}"/>
              </a:ext>
            </a:extLst>
          </p:cNvPr>
          <p:cNvGrpSpPr>
            <a:grpSpLocks/>
          </p:cNvGrpSpPr>
          <p:nvPr/>
        </p:nvGrpSpPr>
        <p:grpSpPr bwMode="auto">
          <a:xfrm>
            <a:off x="3295650" y="2135188"/>
            <a:ext cx="1303338" cy="319087"/>
            <a:chOff x="1196991" y="2100751"/>
            <a:chExt cx="1302875" cy="317766"/>
          </a:xfrm>
        </p:grpSpPr>
        <p:sp>
          <p:nvSpPr>
            <p:cNvPr id="9255" name="Textfeld 805">
              <a:extLst>
                <a:ext uri="{FF2B5EF4-FFF2-40B4-BE49-F238E27FC236}">
                  <a16:creationId xmlns:a16="http://schemas.microsoft.com/office/drawing/2014/main" id="{FD9F345E-B225-419F-A2F6-78A49D0C5C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96991" y="2100751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14x14x2048</a:t>
              </a:r>
              <a:endParaRPr lang="en-US" altLang="en-US" sz="1800"/>
            </a:p>
          </p:txBody>
        </p:sp>
        <p:cxnSp>
          <p:nvCxnSpPr>
            <p:cNvPr id="9256" name="Gerade Verbindung mit Pfeil 806">
              <a:extLst>
                <a:ext uri="{FF2B5EF4-FFF2-40B4-BE49-F238E27FC236}">
                  <a16:creationId xmlns:a16="http://schemas.microsoft.com/office/drawing/2014/main" id="{FB0D6C56-FB69-4C73-BFF2-1256672D24D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753564" cy="159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6" name="Gruppieren 808">
            <a:extLst>
              <a:ext uri="{FF2B5EF4-FFF2-40B4-BE49-F238E27FC236}">
                <a16:creationId xmlns:a16="http://schemas.microsoft.com/office/drawing/2014/main" id="{6164B904-9D97-452A-9AB9-D2F8A62D1971}"/>
              </a:ext>
            </a:extLst>
          </p:cNvPr>
          <p:cNvGrpSpPr>
            <a:grpSpLocks/>
          </p:cNvGrpSpPr>
          <p:nvPr/>
        </p:nvGrpSpPr>
        <p:grpSpPr bwMode="auto">
          <a:xfrm>
            <a:off x="4841875" y="2125663"/>
            <a:ext cx="1303338" cy="306387"/>
            <a:chOff x="1219821" y="2109406"/>
            <a:chExt cx="1302875" cy="307519"/>
          </a:xfrm>
        </p:grpSpPr>
        <p:sp>
          <p:nvSpPr>
            <p:cNvPr id="9253" name="Textfeld 809">
              <a:extLst>
                <a:ext uri="{FF2B5EF4-FFF2-40B4-BE49-F238E27FC236}">
                  <a16:creationId xmlns:a16="http://schemas.microsoft.com/office/drawing/2014/main" id="{C4831545-A9E1-41E9-903E-9DA359ACA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4" name="Gerade Verbindung mit Pfeil 810">
              <a:extLst>
                <a:ext uri="{FF2B5EF4-FFF2-40B4-BE49-F238E27FC236}">
                  <a16:creationId xmlns:a16="http://schemas.microsoft.com/office/drawing/2014/main" id="{5D9849D4-17DA-4523-9975-C6A47AA3826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7" name="Gruppieren 814">
            <a:extLst>
              <a:ext uri="{FF2B5EF4-FFF2-40B4-BE49-F238E27FC236}">
                <a16:creationId xmlns:a16="http://schemas.microsoft.com/office/drawing/2014/main" id="{CD06D290-5C7A-46F6-BDDE-5FF004B80EEA}"/>
              </a:ext>
            </a:extLst>
          </p:cNvPr>
          <p:cNvGrpSpPr>
            <a:grpSpLocks/>
          </p:cNvGrpSpPr>
          <p:nvPr/>
        </p:nvGrpSpPr>
        <p:grpSpPr bwMode="auto">
          <a:xfrm>
            <a:off x="6327775" y="2108200"/>
            <a:ext cx="1303338" cy="307975"/>
            <a:chOff x="1219821" y="2109406"/>
            <a:chExt cx="1302875" cy="307519"/>
          </a:xfrm>
        </p:grpSpPr>
        <p:sp>
          <p:nvSpPr>
            <p:cNvPr id="9251" name="Textfeld 815">
              <a:extLst>
                <a:ext uri="{FF2B5EF4-FFF2-40B4-BE49-F238E27FC236}">
                  <a16:creationId xmlns:a16="http://schemas.microsoft.com/office/drawing/2014/main" id="{BA7E0AF5-5990-4DD8-9391-17765E200C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1024</a:t>
              </a:r>
              <a:endParaRPr lang="en-US" altLang="en-US" sz="1800"/>
            </a:p>
          </p:txBody>
        </p:sp>
        <p:cxnSp>
          <p:nvCxnSpPr>
            <p:cNvPr id="9252" name="Gerade Verbindung mit Pfeil 816">
              <a:extLst>
                <a:ext uri="{FF2B5EF4-FFF2-40B4-BE49-F238E27FC236}">
                  <a16:creationId xmlns:a16="http://schemas.microsoft.com/office/drawing/2014/main" id="{44B2B921-7BB7-45FB-AFC8-96BFD01D2D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38" name="Gruppieren 817">
            <a:extLst>
              <a:ext uri="{FF2B5EF4-FFF2-40B4-BE49-F238E27FC236}">
                <a16:creationId xmlns:a16="http://schemas.microsoft.com/office/drawing/2014/main" id="{498487ED-2D96-48AE-B816-55A2ED4ADA62}"/>
              </a:ext>
            </a:extLst>
          </p:cNvPr>
          <p:cNvGrpSpPr>
            <a:grpSpLocks/>
          </p:cNvGrpSpPr>
          <p:nvPr/>
        </p:nvGrpSpPr>
        <p:grpSpPr bwMode="auto">
          <a:xfrm>
            <a:off x="7610475" y="2103438"/>
            <a:ext cx="1303338" cy="307975"/>
            <a:chOff x="1219821" y="2109406"/>
            <a:chExt cx="1302875" cy="307519"/>
          </a:xfrm>
        </p:grpSpPr>
        <p:sp>
          <p:nvSpPr>
            <p:cNvPr id="9249" name="Textfeld 818">
              <a:extLst>
                <a:ext uri="{FF2B5EF4-FFF2-40B4-BE49-F238E27FC236}">
                  <a16:creationId xmlns:a16="http://schemas.microsoft.com/office/drawing/2014/main" id="{0BD76D7D-233D-431A-B8AF-008716270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21" y="2109406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7x7x</a:t>
              </a:r>
              <a:r>
                <a:rPr lang="de-DE" altLang="en-US" sz="1800" b="1">
                  <a:solidFill>
                    <a:srgbClr val="FF0000"/>
                  </a:solidFill>
                </a:rPr>
                <a:t>5</a:t>
              </a:r>
              <a:endParaRPr lang="en-US" altLang="en-US" sz="1800" b="1">
                <a:solidFill>
                  <a:srgbClr val="FF0000"/>
                </a:solidFill>
              </a:endParaRPr>
            </a:p>
          </p:txBody>
        </p:sp>
        <p:cxnSp>
          <p:nvCxnSpPr>
            <p:cNvPr id="9250" name="Gerade Verbindung mit Pfeil 819">
              <a:extLst>
                <a:ext uri="{FF2B5EF4-FFF2-40B4-BE49-F238E27FC236}">
                  <a16:creationId xmlns:a16="http://schemas.microsoft.com/office/drawing/2014/main" id="{8D3323E9-5F8E-438C-9105-9184E6A9D37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03475" y="2416925"/>
              <a:ext cx="680256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39" name="Textfeld 820">
            <a:extLst>
              <a:ext uri="{FF2B5EF4-FFF2-40B4-BE49-F238E27FC236}">
                <a16:creationId xmlns:a16="http://schemas.microsoft.com/office/drawing/2014/main" id="{4AD8A9DC-2EE7-4099-A40D-B6E53F3307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763" y="3498850"/>
            <a:ext cx="13017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resnet50</a:t>
            </a:r>
            <a:endParaRPr lang="en-US" altLang="en-US" sz="2000"/>
          </a:p>
        </p:txBody>
      </p:sp>
      <p:sp>
        <p:nvSpPr>
          <p:cNvPr id="9240" name="Textfeld 823">
            <a:extLst>
              <a:ext uri="{FF2B5EF4-FFF2-40B4-BE49-F238E27FC236}">
                <a16:creationId xmlns:a16="http://schemas.microsoft.com/office/drawing/2014/main" id="{FD4C8B46-89A9-4C96-B51E-01FF75DDA6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7150" y="3321050"/>
            <a:ext cx="14176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1024 + stride = 2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9241" name="Textfeld 824">
            <a:extLst>
              <a:ext uri="{FF2B5EF4-FFF2-40B4-BE49-F238E27FC236}">
                <a16:creationId xmlns:a16="http://schemas.microsoft.com/office/drawing/2014/main" id="{DBBF996A-7CF9-4570-A511-520241A64A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9450" y="3479800"/>
            <a:ext cx="1303338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2000"/>
              <a:t>dropout</a:t>
            </a:r>
            <a:endParaRPr lang="en-US" altLang="en-US" sz="2000"/>
          </a:p>
        </p:txBody>
      </p:sp>
      <p:grpSp>
        <p:nvGrpSpPr>
          <p:cNvPr id="826" name="Gruppieren 825">
            <a:extLst>
              <a:ext uri="{FF2B5EF4-FFF2-40B4-BE49-F238E27FC236}">
                <a16:creationId xmlns:a16="http://schemas.microsoft.com/office/drawing/2014/main" id="{A142AAAE-A0B9-4FA2-8CD8-0AE4A9DA30FD}"/>
              </a:ext>
            </a:extLst>
          </p:cNvPr>
          <p:cNvGrpSpPr>
            <a:grpSpLocks/>
          </p:cNvGrpSpPr>
          <p:nvPr/>
        </p:nvGrpSpPr>
        <p:grpSpPr bwMode="auto">
          <a:xfrm>
            <a:off x="9290050" y="2135188"/>
            <a:ext cx="1397000" cy="282575"/>
            <a:chOff x="1447926" y="2128103"/>
            <a:chExt cx="1397676" cy="283444"/>
          </a:xfrm>
        </p:grpSpPr>
        <p:sp>
          <p:nvSpPr>
            <p:cNvPr id="9247" name="Textfeld 826">
              <a:extLst>
                <a:ext uri="{FF2B5EF4-FFF2-40B4-BE49-F238E27FC236}">
                  <a16:creationId xmlns:a16="http://schemas.microsoft.com/office/drawing/2014/main" id="{9C3486FA-C220-4D6D-8C5B-397A346635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42727" y="2128103"/>
              <a:ext cx="130287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 baseline="-25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r>
                <a:rPr lang="de-DE" altLang="en-US" sz="1800"/>
                <a:t>plot</a:t>
              </a:r>
              <a:endParaRPr lang="en-US" altLang="en-US" sz="1800"/>
            </a:p>
          </p:txBody>
        </p:sp>
        <p:cxnSp>
          <p:nvCxnSpPr>
            <p:cNvPr id="9248" name="Gerade Verbindung mit Pfeil 827">
              <a:extLst>
                <a:ext uri="{FF2B5EF4-FFF2-40B4-BE49-F238E27FC236}">
                  <a16:creationId xmlns:a16="http://schemas.microsoft.com/office/drawing/2014/main" id="{3ADCD00F-B285-493C-9B95-E05411EDCC6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447926" y="2404245"/>
              <a:ext cx="674290" cy="730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8253" name="Gerade Verbindung mit Pfeil 8252">
            <a:extLst>
              <a:ext uri="{FF2B5EF4-FFF2-40B4-BE49-F238E27FC236}">
                <a16:creationId xmlns:a16="http://schemas.microsoft.com/office/drawing/2014/main" id="{05023CD2-FEAC-4913-A4E0-890514667607}"/>
              </a:ext>
            </a:extLst>
          </p:cNvPr>
          <p:cNvCxnSpPr>
            <a:cxnSpLocks/>
            <a:stCxn id="844" idx="2"/>
          </p:cNvCxnSpPr>
          <p:nvPr/>
        </p:nvCxnSpPr>
        <p:spPr bwMode="auto">
          <a:xfrm flipH="1">
            <a:off x="9017000" y="3519488"/>
            <a:ext cx="3175" cy="673100"/>
          </a:xfrm>
          <a:prstGeom prst="straightConnector1">
            <a:avLst/>
          </a:prstGeom>
          <a:noFill/>
          <a:ln w="25400" algn="ctr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4" name="Textfeld 843">
            <a:extLst>
              <a:ext uri="{FF2B5EF4-FFF2-40B4-BE49-F238E27FC236}">
                <a16:creationId xmlns:a16="http://schemas.microsoft.com/office/drawing/2014/main" id="{37610AB7-19B0-40C8-8C67-CD6C6B1F816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229600" y="3379788"/>
            <a:ext cx="13033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en-US" sz="1800"/>
              <a:t>details</a:t>
            </a:r>
            <a:endParaRPr lang="en-US" altLang="en-US" sz="1800"/>
          </a:p>
        </p:txBody>
      </p:sp>
      <p:sp>
        <p:nvSpPr>
          <p:cNvPr id="9245" name="Textfeld 846">
            <a:extLst>
              <a:ext uri="{FF2B5EF4-FFF2-40B4-BE49-F238E27FC236}">
                <a16:creationId xmlns:a16="http://schemas.microsoft.com/office/drawing/2014/main" id="{E500FCE2-8B29-4C23-9112-471CFE22A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3713" y="3319463"/>
            <a:ext cx="13033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sz="1600"/>
              <a:t>3x3x5 + padding</a:t>
            </a:r>
          </a:p>
          <a:p>
            <a:pPr algn="ctr"/>
            <a:r>
              <a:rPr lang="de-DE" altLang="en-US" sz="2000"/>
              <a:t>conv. layer</a:t>
            </a:r>
            <a:endParaRPr lang="en-US" altLang="en-US" sz="2000"/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F13534EE-7447-44EC-8DAC-94361253085B}"/>
              </a:ext>
            </a:extLst>
          </p:cNvPr>
          <p:cNvSpPr txBox="1"/>
          <p:nvPr/>
        </p:nvSpPr>
        <p:spPr>
          <a:xfrm>
            <a:off x="1652567" y="3945520"/>
            <a:ext cx="4302730" cy="35907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highlight>
                  <a:srgbClr val="FFFF00"/>
                </a:highlight>
              </a:rPr>
              <a:t>TBC: </a:t>
            </a:r>
            <a:r>
              <a:rPr lang="de-DE" dirty="0" err="1">
                <a:highlight>
                  <a:srgbClr val="FFFF00"/>
                </a:highlight>
              </a:rPr>
              <a:t>show</a:t>
            </a:r>
            <a:r>
              <a:rPr lang="de-DE" dirty="0">
                <a:highlight>
                  <a:srgbClr val="FFFF00"/>
                </a:highlight>
              </a:rPr>
              <a:t> global </a:t>
            </a:r>
            <a:r>
              <a:rPr lang="de-DE" dirty="0" err="1">
                <a:highlight>
                  <a:srgbClr val="FFFF00"/>
                </a:highlight>
              </a:rPr>
              <a:t>or</a:t>
            </a:r>
            <a:r>
              <a:rPr lang="de-DE" dirty="0">
                <a:highlight>
                  <a:srgbClr val="FFFF00"/>
                </a:highlight>
              </a:rPr>
              <a:t> relative </a:t>
            </a:r>
            <a:r>
              <a:rPr lang="de-DE" dirty="0" err="1">
                <a:highlight>
                  <a:srgbClr val="FFFF00"/>
                </a:highlight>
              </a:rPr>
              <a:t>values</a:t>
            </a:r>
            <a:endParaRPr lang="en-US" dirty="0">
              <a:highlight>
                <a:srgbClr val="FFFF00"/>
              </a:highligh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>
            <a:extLst>
              <a:ext uri="{FF2B5EF4-FFF2-40B4-BE49-F238E27FC236}">
                <a16:creationId xmlns:a16="http://schemas.microsoft.com/office/drawing/2014/main" id="{EE28A69E-67FB-40A8-8D6C-1032E38EF3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3 Loss Function</a:t>
            </a:r>
          </a:p>
        </p:txBody>
      </p:sp>
      <p:sp>
        <p:nvSpPr>
          <p:cNvPr id="12291" name="Fußzeilenplatzhalter 3">
            <a:extLst>
              <a:ext uri="{FF2B5EF4-FFF2-40B4-BE49-F238E27FC236}">
                <a16:creationId xmlns:a16="http://schemas.microsoft.com/office/drawing/2014/main" id="{5444DAE3-1BB8-42E2-BC9A-4918CCBBE94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39" name="Geschweifte Klammer links 4">
            <a:extLst>
              <a:ext uri="{FF2B5EF4-FFF2-40B4-BE49-F238E27FC236}">
                <a16:creationId xmlns:a16="http://schemas.microsoft.com/office/drawing/2014/main" id="{F0F497AC-9BFA-417A-95FF-CE8B70DD1EF6}"/>
              </a:ext>
            </a:extLst>
          </p:cNvPr>
          <p:cNvSpPr>
            <a:spLocks/>
          </p:cNvSpPr>
          <p:nvPr/>
        </p:nvSpPr>
        <p:spPr bwMode="auto">
          <a:xfrm>
            <a:off x="6155445" y="2222317"/>
            <a:ext cx="346954" cy="537198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0" name="Textfeld 5">
            <a:extLst>
              <a:ext uri="{FF2B5EF4-FFF2-40B4-BE49-F238E27FC236}">
                <a16:creationId xmlns:a16="http://schemas.microsoft.com/office/drawing/2014/main" id="{86516CA8-86C8-4EA0-B96D-2F7474BA99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2215" y="2222317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</a:p>
        </p:txBody>
      </p:sp>
      <p:sp>
        <p:nvSpPr>
          <p:cNvPr id="41" name="Geschweifte Klammer links 52">
            <a:extLst>
              <a:ext uri="{FF2B5EF4-FFF2-40B4-BE49-F238E27FC236}">
                <a16:creationId xmlns:a16="http://schemas.microsoft.com/office/drawing/2014/main" id="{03C4CD08-E7D9-4EAB-89D0-0866FC29399E}"/>
              </a:ext>
            </a:extLst>
          </p:cNvPr>
          <p:cNvSpPr>
            <a:spLocks/>
          </p:cNvSpPr>
          <p:nvPr/>
        </p:nvSpPr>
        <p:spPr bwMode="auto">
          <a:xfrm rot="5400000">
            <a:off x="7375492" y="1474071"/>
            <a:ext cx="218780" cy="223391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2" name="Textfeld 53">
            <a:extLst>
              <a:ext uri="{FF2B5EF4-FFF2-40B4-BE49-F238E27FC236}">
                <a16:creationId xmlns:a16="http://schemas.microsoft.com/office/drawing/2014/main" id="{AD04D12D-4F62-4952-AC37-1C1D2BCD93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3034" y="948195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</a:p>
        </p:txBody>
      </p:sp>
      <p:sp>
        <p:nvSpPr>
          <p:cNvPr id="46" name="Rechteck 43">
            <a:extLst>
              <a:ext uri="{FF2B5EF4-FFF2-40B4-BE49-F238E27FC236}">
                <a16:creationId xmlns:a16="http://schemas.microsoft.com/office/drawing/2014/main" id="{B666BEF6-1A3E-40BF-8AA3-844AC9014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2983" y="2263224"/>
            <a:ext cx="1509713" cy="1293812"/>
          </a:xfrm>
          <a:prstGeom prst="rect">
            <a:avLst/>
          </a:prstGeom>
          <a:noFill/>
          <a:ln w="57150" algn="ctr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7" name="Rechteck 44">
            <a:extLst>
              <a:ext uri="{FF2B5EF4-FFF2-40B4-BE49-F238E27FC236}">
                <a16:creationId xmlns:a16="http://schemas.microsoft.com/office/drawing/2014/main" id="{C156E232-FE3F-48B9-A0C9-99B0B458A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7504" y="2206073"/>
            <a:ext cx="2206625" cy="955675"/>
          </a:xfrm>
          <a:prstGeom prst="rect">
            <a:avLst/>
          </a:prstGeom>
          <a:noFill/>
          <a:ln w="57150" algn="ctr">
            <a:solidFill>
              <a:schemeClr val="bg1">
                <a:lumMod val="50000"/>
                <a:alpha val="51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8063">
              <a:spcBef>
                <a:spcPct val="20000"/>
              </a:spcBef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8063">
              <a:spcBef>
                <a:spcPct val="20000"/>
              </a:spcBef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8063">
              <a:spcBef>
                <a:spcPct val="20000"/>
              </a:spcBef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80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DE" altLang="de-DE" sz="2600">
              <a:latin typeface="Times New Roman" panose="02020603050405020304" pitchFamily="18" charset="0"/>
            </a:endParaRPr>
          </a:p>
        </p:txBody>
      </p:sp>
      <p:sp>
        <p:nvSpPr>
          <p:cNvPr id="48" name="Geschweifte Klammer links 4">
            <a:extLst>
              <a:ext uri="{FF2B5EF4-FFF2-40B4-BE49-F238E27FC236}">
                <a16:creationId xmlns:a16="http://schemas.microsoft.com/office/drawing/2014/main" id="{46F2E038-FD56-41BE-AF15-8E6433F7A9B4}"/>
              </a:ext>
            </a:extLst>
          </p:cNvPr>
          <p:cNvSpPr>
            <a:spLocks/>
          </p:cNvSpPr>
          <p:nvPr/>
        </p:nvSpPr>
        <p:spPr bwMode="auto">
          <a:xfrm>
            <a:off x="10294029" y="3159425"/>
            <a:ext cx="368300" cy="348851"/>
          </a:xfrm>
          <a:prstGeom prst="leftBrace">
            <a:avLst>
              <a:gd name="adj1" fmla="val 8307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49" name="Textfeld 5">
            <a:extLst>
              <a:ext uri="{FF2B5EF4-FFF2-40B4-BE49-F238E27FC236}">
                <a16:creationId xmlns:a16="http://schemas.microsoft.com/office/drawing/2014/main" id="{C2943F82-63C5-4D75-A727-9AE568E6C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74983" y="3064911"/>
            <a:ext cx="8270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</a:p>
        </p:txBody>
      </p:sp>
      <p:sp>
        <p:nvSpPr>
          <p:cNvPr id="50" name="Geschweifte Klammer links 52">
            <a:extLst>
              <a:ext uri="{FF2B5EF4-FFF2-40B4-BE49-F238E27FC236}">
                <a16:creationId xmlns:a16="http://schemas.microsoft.com/office/drawing/2014/main" id="{9AE4CADE-EA0A-485D-A5D4-EE15B9BB0DDB}"/>
              </a:ext>
            </a:extLst>
          </p:cNvPr>
          <p:cNvSpPr>
            <a:spLocks/>
          </p:cNvSpPr>
          <p:nvPr/>
        </p:nvSpPr>
        <p:spPr bwMode="auto">
          <a:xfrm rot="5400000">
            <a:off x="12459856" y="1617594"/>
            <a:ext cx="366713" cy="681832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de-DE" altLang="de-DE"/>
          </a:p>
        </p:txBody>
      </p:sp>
      <p:sp>
        <p:nvSpPr>
          <p:cNvPr id="51" name="Textfeld 53">
            <a:extLst>
              <a:ext uri="{FF2B5EF4-FFF2-40B4-BE49-F238E27FC236}">
                <a16:creationId xmlns:a16="http://schemas.microsoft.com/office/drawing/2014/main" id="{B2A097E6-1660-4D7E-A68A-3B84A1C66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43848" y="1281008"/>
            <a:ext cx="82708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l-GR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Δ</a:t>
            </a:r>
            <a:r>
              <a:rPr lang="de-DE" altLang="de-DE" baseline="0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</a:p>
        </p:txBody>
      </p:sp>
      <p:grpSp>
        <p:nvGrpSpPr>
          <p:cNvPr id="64" name="Gruppieren 117">
            <a:extLst>
              <a:ext uri="{FF2B5EF4-FFF2-40B4-BE49-F238E27FC236}">
                <a16:creationId xmlns:a16="http://schemas.microsoft.com/office/drawing/2014/main" id="{21DF62FC-1EF3-4D24-94E8-F29D36F9C19E}"/>
              </a:ext>
            </a:extLst>
          </p:cNvPr>
          <p:cNvGrpSpPr>
            <a:grpSpLocks/>
          </p:cNvGrpSpPr>
          <p:nvPr/>
        </p:nvGrpSpPr>
        <p:grpSpPr bwMode="auto">
          <a:xfrm>
            <a:off x="152202" y="1599261"/>
            <a:ext cx="2967037" cy="2414574"/>
            <a:chOff x="207572" y="4710044"/>
            <a:chExt cx="2967997" cy="2414969"/>
          </a:xfrm>
        </p:grpSpPr>
        <p:grpSp>
          <p:nvGrpSpPr>
            <p:cNvPr id="67" name="Gruppieren 120">
              <a:extLst>
                <a:ext uri="{FF2B5EF4-FFF2-40B4-BE49-F238E27FC236}">
                  <a16:creationId xmlns:a16="http://schemas.microsoft.com/office/drawing/2014/main" id="{4AD9C6C2-9D20-4D27-BA3A-C6D1AB686A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572" y="4710044"/>
              <a:ext cx="2967997" cy="2414969"/>
              <a:chOff x="5357638" y="3096117"/>
              <a:chExt cx="2967997" cy="2414969"/>
            </a:xfrm>
          </p:grpSpPr>
          <p:grpSp>
            <p:nvGrpSpPr>
              <p:cNvPr id="69" name="Gruppieren 122">
                <a:extLst>
                  <a:ext uri="{FF2B5EF4-FFF2-40B4-BE49-F238E27FC236}">
                    <a16:creationId xmlns:a16="http://schemas.microsoft.com/office/drawing/2014/main" id="{F5C44101-5175-4695-BAF3-2201851E436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79" name="Gerader Verbinder 45">
                  <a:extLst>
                    <a:ext uri="{FF2B5EF4-FFF2-40B4-BE49-F238E27FC236}">
                      <a16:creationId xmlns:a16="http://schemas.microsoft.com/office/drawing/2014/main" id="{E52177D4-C1DC-40D6-BBE4-1B850A78120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0" name="Gerader Verbinder 46">
                  <a:extLst>
                    <a:ext uri="{FF2B5EF4-FFF2-40B4-BE49-F238E27FC236}">
                      <a16:creationId xmlns:a16="http://schemas.microsoft.com/office/drawing/2014/main" id="{6B0A1FCE-5676-4AC5-A8CB-8543AD8A0A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1" name="Gerader Verbinder 47">
                  <a:extLst>
                    <a:ext uri="{FF2B5EF4-FFF2-40B4-BE49-F238E27FC236}">
                      <a16:creationId xmlns:a16="http://schemas.microsoft.com/office/drawing/2014/main" id="{75120C38-140D-4E45-9392-0D8C147EE8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2" name="Gerader Verbinder 48">
                  <a:extLst>
                    <a:ext uri="{FF2B5EF4-FFF2-40B4-BE49-F238E27FC236}">
                      <a16:creationId xmlns:a16="http://schemas.microsoft.com/office/drawing/2014/main" id="{35E874CF-799A-4020-AA92-DBFB026BF10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3" name="Gerader Verbinder 49">
                  <a:extLst>
                    <a:ext uri="{FF2B5EF4-FFF2-40B4-BE49-F238E27FC236}">
                      <a16:creationId xmlns:a16="http://schemas.microsoft.com/office/drawing/2014/main" id="{FDA87771-C5AA-49D9-8EF8-C8A25DDD531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4" name="Gerader Verbinder 50">
                  <a:extLst>
                    <a:ext uri="{FF2B5EF4-FFF2-40B4-BE49-F238E27FC236}">
                      <a16:creationId xmlns:a16="http://schemas.microsoft.com/office/drawing/2014/main" id="{C63BC0A8-B1BB-46BC-B759-D09B3DD866A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5" name="Gerader Verbinder 51">
                  <a:extLst>
                    <a:ext uri="{FF2B5EF4-FFF2-40B4-BE49-F238E27FC236}">
                      <a16:creationId xmlns:a16="http://schemas.microsoft.com/office/drawing/2014/main" id="{807E393B-51F3-4F1B-BEEE-98F113C3F4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6" name="Gerader Verbinder 52">
                  <a:extLst>
                    <a:ext uri="{FF2B5EF4-FFF2-40B4-BE49-F238E27FC236}">
                      <a16:creationId xmlns:a16="http://schemas.microsoft.com/office/drawing/2014/main" id="{2785CCD0-8D75-4C86-81F8-5BCEF79657D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7" name="Gerader Verbinder 53">
                  <a:extLst>
                    <a:ext uri="{FF2B5EF4-FFF2-40B4-BE49-F238E27FC236}">
                      <a16:creationId xmlns:a16="http://schemas.microsoft.com/office/drawing/2014/main" id="{4F009ED6-746E-4081-8C53-F64DB4531D8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8" name="Gerader Verbinder 54">
                  <a:extLst>
                    <a:ext uri="{FF2B5EF4-FFF2-40B4-BE49-F238E27FC236}">
                      <a16:creationId xmlns:a16="http://schemas.microsoft.com/office/drawing/2014/main" id="{B4965FC7-B54B-48BD-871E-5757FCBCD69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9" name="Gerader Verbinder 55">
                  <a:extLst>
                    <a:ext uri="{FF2B5EF4-FFF2-40B4-BE49-F238E27FC236}">
                      <a16:creationId xmlns:a16="http://schemas.microsoft.com/office/drawing/2014/main" id="{DA5F041D-B960-4BF8-8FA9-14AD2A3EA8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0" name="Gerader Verbinder 56">
                  <a:extLst>
                    <a:ext uri="{FF2B5EF4-FFF2-40B4-BE49-F238E27FC236}">
                      <a16:creationId xmlns:a16="http://schemas.microsoft.com/office/drawing/2014/main" id="{994AE5B4-B320-4F7C-806E-50D1495D27C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1" name="Gerader Verbinder 57">
                  <a:extLst>
                    <a:ext uri="{FF2B5EF4-FFF2-40B4-BE49-F238E27FC236}">
                      <a16:creationId xmlns:a16="http://schemas.microsoft.com/office/drawing/2014/main" id="{BA388651-8B3E-4500-AD69-D27FC0BF0E9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" name="Gerader Verbinder 58">
                  <a:extLst>
                    <a:ext uri="{FF2B5EF4-FFF2-40B4-BE49-F238E27FC236}">
                      <a16:creationId xmlns:a16="http://schemas.microsoft.com/office/drawing/2014/main" id="{B167DCA0-BBD8-4A60-B710-85BF4B8B46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" name="Gerader Verbinder 59">
                  <a:extLst>
                    <a:ext uri="{FF2B5EF4-FFF2-40B4-BE49-F238E27FC236}">
                      <a16:creationId xmlns:a16="http://schemas.microsoft.com/office/drawing/2014/main" id="{154F22B3-8437-433E-B131-2615E97189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4" name="Gerader Verbinder 60">
                  <a:extLst>
                    <a:ext uri="{FF2B5EF4-FFF2-40B4-BE49-F238E27FC236}">
                      <a16:creationId xmlns:a16="http://schemas.microsoft.com/office/drawing/2014/main" id="{599989C9-C799-4C27-956D-4FC49F70D7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70" name="Textfeld 123">
                <a:extLst>
                  <a:ext uri="{FF2B5EF4-FFF2-40B4-BE49-F238E27FC236}">
                    <a16:creationId xmlns:a16="http://schemas.microsoft.com/office/drawing/2014/main" id="{C4BEEA20-6814-4009-8505-54C3B08D74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1" name="Textfeld 124">
                <a:extLst>
                  <a:ext uri="{FF2B5EF4-FFF2-40B4-BE49-F238E27FC236}">
                    <a16:creationId xmlns:a16="http://schemas.microsoft.com/office/drawing/2014/main" id="{1AAEEF1C-F313-476E-9152-BE5CAC3FA9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>
                    <a:solidFill>
                      <a:srgbClr val="FF0000"/>
                    </a:solidFill>
                  </a:rPr>
                  <a:t>1</a:t>
                </a:r>
                <a:endParaRPr lang="en-US" altLang="en-US" sz="28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72" name="Textfeld 125">
                <a:extLst>
                  <a:ext uri="{FF2B5EF4-FFF2-40B4-BE49-F238E27FC236}">
                    <a16:creationId xmlns:a16="http://schemas.microsoft.com/office/drawing/2014/main" id="{6630549B-9FF6-46C0-B92D-6023F9A5E8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3" name="Rechteck 126">
                <a:extLst>
                  <a:ext uri="{FF2B5EF4-FFF2-40B4-BE49-F238E27FC236}">
                    <a16:creationId xmlns:a16="http://schemas.microsoft.com/office/drawing/2014/main" id="{CB57B4E7-6E13-42AC-B058-A2D38453B6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4" name="Rechteck 127">
                <a:extLst>
                  <a:ext uri="{FF2B5EF4-FFF2-40B4-BE49-F238E27FC236}">
                    <a16:creationId xmlns:a16="http://schemas.microsoft.com/office/drawing/2014/main" id="{E09FED17-66C4-4A70-A462-44FE07F82E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5" name="Rechteck 128">
                <a:extLst>
                  <a:ext uri="{FF2B5EF4-FFF2-40B4-BE49-F238E27FC236}">
                    <a16:creationId xmlns:a16="http://schemas.microsoft.com/office/drawing/2014/main" id="{A71B5E68-539F-4D36-87BD-E0C14F8D2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     0    0    0	</a:t>
                </a:r>
                <a:endParaRPr lang="en-US" altLang="en-US" sz="2800"/>
              </a:p>
            </p:txBody>
          </p:sp>
          <p:sp>
            <p:nvSpPr>
              <p:cNvPr id="76" name="Rechteck 129">
                <a:extLst>
                  <a:ext uri="{FF2B5EF4-FFF2-40B4-BE49-F238E27FC236}">
                    <a16:creationId xmlns:a16="http://schemas.microsoft.com/office/drawing/2014/main" id="{ECE29060-B13D-41A1-B484-6B00407B6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  <p:sp>
            <p:nvSpPr>
              <p:cNvPr id="77" name="Rechteck 130">
                <a:extLst>
                  <a:ext uri="{FF2B5EF4-FFF2-40B4-BE49-F238E27FC236}">
                    <a16:creationId xmlns:a16="http://schemas.microsoft.com/office/drawing/2014/main" id="{41A26045-9EA0-4AAC-8EE1-6175547445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      0    0	</a:t>
                </a:r>
                <a:endParaRPr lang="en-US" altLang="en-US" sz="2800"/>
              </a:p>
            </p:txBody>
          </p:sp>
          <p:sp>
            <p:nvSpPr>
              <p:cNvPr id="78" name="Rechteck 131">
                <a:extLst>
                  <a:ext uri="{FF2B5EF4-FFF2-40B4-BE49-F238E27FC236}">
                    <a16:creationId xmlns:a16="http://schemas.microsoft.com/office/drawing/2014/main" id="{5E0417DB-A917-4415-829E-E43FA77B24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/>
                  <a:t>0    0    0    0   0    0    0	</a:t>
                </a:r>
                <a:endParaRPr lang="en-US" altLang="en-US" sz="2800"/>
              </a:p>
            </p:txBody>
          </p:sp>
        </p:grpSp>
        <p:sp>
          <p:nvSpPr>
            <p:cNvPr id="66" name="Rechteck 119">
              <a:extLst>
                <a:ext uri="{FF2B5EF4-FFF2-40B4-BE49-F238E27FC236}">
                  <a16:creationId xmlns:a16="http://schemas.microsoft.com/office/drawing/2014/main" id="{8E55C16F-E5F3-4BAC-803F-FAC6477C0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93" y="4796507"/>
              <a:ext cx="2380751" cy="232395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99" name="Textfeld 121">
            <a:extLst>
              <a:ext uri="{FF2B5EF4-FFF2-40B4-BE49-F238E27FC236}">
                <a16:creationId xmlns:a16="http://schemas.microsoft.com/office/drawing/2014/main" id="{D6BC6E5C-185E-443D-976D-6AEE89C7E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838" y="1229897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AD68ECC-9FA9-4A6D-BB43-128359395E9F}"/>
              </a:ext>
            </a:extLst>
          </p:cNvPr>
          <p:cNvGrpSpPr/>
          <p:nvPr/>
        </p:nvGrpSpPr>
        <p:grpSpPr>
          <a:xfrm>
            <a:off x="2852205" y="1608705"/>
            <a:ext cx="2967037" cy="2414574"/>
            <a:chOff x="10395137" y="4493119"/>
            <a:chExt cx="2967037" cy="2414574"/>
          </a:xfrm>
        </p:grpSpPr>
        <p:grpSp>
          <p:nvGrpSpPr>
            <p:cNvPr id="98" name="Gruppieren 120">
              <a:extLst>
                <a:ext uri="{FF2B5EF4-FFF2-40B4-BE49-F238E27FC236}">
                  <a16:creationId xmlns:a16="http://schemas.microsoft.com/office/drawing/2014/main" id="{835831B4-85F9-4477-9A5A-CE4E43463A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5137" y="4493119"/>
              <a:ext cx="2967037" cy="2414574"/>
              <a:chOff x="5357638" y="3096117"/>
              <a:chExt cx="2967997" cy="2414969"/>
            </a:xfrm>
          </p:grpSpPr>
          <p:grpSp>
            <p:nvGrpSpPr>
              <p:cNvPr id="100" name="Gruppieren 122">
                <a:extLst>
                  <a:ext uri="{FF2B5EF4-FFF2-40B4-BE49-F238E27FC236}">
                    <a16:creationId xmlns:a16="http://schemas.microsoft.com/office/drawing/2014/main" id="{6F2ED10C-D62D-464B-9384-303DE0205A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61759" y="3179543"/>
                <a:ext cx="2382761" cy="2331543"/>
                <a:chOff x="8045450" y="1893888"/>
                <a:chExt cx="4875213" cy="4875212"/>
              </a:xfrm>
            </p:grpSpPr>
            <p:cxnSp>
              <p:nvCxnSpPr>
                <p:cNvPr id="110" name="Gerader Verbinder 45">
                  <a:extLst>
                    <a:ext uri="{FF2B5EF4-FFF2-40B4-BE49-F238E27FC236}">
                      <a16:creationId xmlns:a16="http://schemas.microsoft.com/office/drawing/2014/main" id="{2301711F-B4BE-406E-91FF-D8CC2E51D7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74077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1" name="Gerader Verbinder 46">
                  <a:extLst>
                    <a:ext uri="{FF2B5EF4-FFF2-40B4-BE49-F238E27FC236}">
                      <a16:creationId xmlns:a16="http://schemas.microsoft.com/office/drawing/2014/main" id="{E007A04C-025D-4499-BDEA-6BE38BE7731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943610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2" name="Gerader Verbinder 47">
                  <a:extLst>
                    <a:ext uri="{FF2B5EF4-FFF2-40B4-BE49-F238E27FC236}">
                      <a16:creationId xmlns:a16="http://schemas.microsoft.com/office/drawing/2014/main" id="{A7AC0DBA-E661-4CB9-977B-603A558D2DC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131425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3" name="Gerader Verbinder 48">
                  <a:extLst>
                    <a:ext uri="{FF2B5EF4-FFF2-40B4-BE49-F238E27FC236}">
                      <a16:creationId xmlns:a16="http://schemas.microsoft.com/office/drawing/2014/main" id="{D64BEA11-4BC7-479B-A65B-FE7519A284D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082833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4" name="Gerader Verbinder 49">
                  <a:extLst>
                    <a:ext uri="{FF2B5EF4-FFF2-40B4-BE49-F238E27FC236}">
                      <a16:creationId xmlns:a16="http://schemas.microsoft.com/office/drawing/2014/main" id="{637AC419-9F74-4582-AA47-7268C6D852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2366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5" name="Gerader Verbinder 50">
                  <a:extLst>
                    <a:ext uri="{FF2B5EF4-FFF2-40B4-BE49-F238E27FC236}">
                      <a16:creationId xmlns:a16="http://schemas.microsoft.com/office/drawing/2014/main" id="{C52E716B-B2E1-4A56-BE9D-587B37959F6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218988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6" name="Gerader Verbinder 51">
                  <a:extLst>
                    <a:ext uri="{FF2B5EF4-FFF2-40B4-BE49-F238E27FC236}">
                      <a16:creationId xmlns:a16="http://schemas.microsoft.com/office/drawing/2014/main" id="{CF2CBF4A-40AE-4D19-B5FD-C8660969D5B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2914313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7" name="Gerader Verbinder 52">
                  <a:extLst>
                    <a:ext uri="{FF2B5EF4-FFF2-40B4-BE49-F238E27FC236}">
                      <a16:creationId xmlns:a16="http://schemas.microsoft.com/office/drawing/2014/main" id="{2F816458-D028-4FE9-9329-37D521A7D6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893888"/>
                  <a:ext cx="0" cy="4875212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8" name="Gerader Verbinder 53">
                  <a:extLst>
                    <a:ext uri="{FF2B5EF4-FFF2-40B4-BE49-F238E27FC236}">
                      <a16:creationId xmlns:a16="http://schemas.microsoft.com/office/drawing/2014/main" id="{F7975701-5DAE-416C-8DC4-691B2AFC76F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19050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19" name="Gerader Verbinder 54">
                  <a:extLst>
                    <a:ext uri="{FF2B5EF4-FFF2-40B4-BE49-F238E27FC236}">
                      <a16:creationId xmlns:a16="http://schemas.microsoft.com/office/drawing/2014/main" id="{B214FA54-5B37-4E41-B4BD-3497E5AD3B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2600325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0" name="Gerader Verbinder 55">
                  <a:extLst>
                    <a:ext uri="{FF2B5EF4-FFF2-40B4-BE49-F238E27FC236}">
                      <a16:creationId xmlns:a16="http://schemas.microsoft.com/office/drawing/2014/main" id="{E99EC26C-CA91-4E41-AD71-E2F6EB14A7A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2940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1" name="Gerader Verbinder 56">
                  <a:extLst>
                    <a:ext uri="{FF2B5EF4-FFF2-40B4-BE49-F238E27FC236}">
                      <a16:creationId xmlns:a16="http://schemas.microsoft.com/office/drawing/2014/main" id="{967B96F4-C817-4AB1-8400-9FA32DC9CD4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39878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2" name="Gerader Verbinder 57">
                  <a:extLst>
                    <a:ext uri="{FF2B5EF4-FFF2-40B4-BE49-F238E27FC236}">
                      <a16:creationId xmlns:a16="http://schemas.microsoft.com/office/drawing/2014/main" id="{628EDC32-37FD-476D-AF2B-C20315157DD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46815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3" name="Gerader Verbinder 58">
                  <a:extLst>
                    <a:ext uri="{FF2B5EF4-FFF2-40B4-BE49-F238E27FC236}">
                      <a16:creationId xmlns:a16="http://schemas.microsoft.com/office/drawing/2014/main" id="{644D7599-3A9D-45A0-AF6B-AE9CEA6B32B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5376863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4" name="Gerader Verbinder 59">
                  <a:extLst>
                    <a:ext uri="{FF2B5EF4-FFF2-40B4-BE49-F238E27FC236}">
                      <a16:creationId xmlns:a16="http://schemas.microsoft.com/office/drawing/2014/main" id="{D12E19D2-1037-4935-B41E-80C99D0F2D6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764338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25" name="Gerader Verbinder 60">
                  <a:extLst>
                    <a:ext uri="{FF2B5EF4-FFF2-40B4-BE49-F238E27FC236}">
                      <a16:creationId xmlns:a16="http://schemas.microsoft.com/office/drawing/2014/main" id="{FDCDA12C-B063-4807-BBF6-CB5424A211C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045450" y="6070600"/>
                  <a:ext cx="4875213" cy="0"/>
                </a:xfrm>
                <a:prstGeom prst="line">
                  <a:avLst/>
                </a:prstGeom>
                <a:noFill/>
                <a:ln w="25400" algn="ctr">
                  <a:solidFill>
                    <a:srgbClr val="FFC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sp>
            <p:nvSpPr>
              <p:cNvPr id="101" name="Textfeld 123">
                <a:extLst>
                  <a:ext uri="{FF2B5EF4-FFF2-40B4-BE49-F238E27FC236}">
                    <a16:creationId xmlns:a16="http://schemas.microsoft.com/office/drawing/2014/main" id="{9EB5236B-3474-46FB-8474-E32D4F19A6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32522" y="4751059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 dirty="0"/>
                  <a:t>1</a:t>
                </a:r>
                <a:endParaRPr lang="en-US" altLang="en-US" sz="2800" b="1" dirty="0"/>
              </a:p>
            </p:txBody>
          </p:sp>
          <p:sp>
            <p:nvSpPr>
              <p:cNvPr id="102" name="Textfeld 124">
                <a:extLst>
                  <a:ext uri="{FF2B5EF4-FFF2-40B4-BE49-F238E27FC236}">
                    <a16:creationId xmlns:a16="http://schemas.microsoft.com/office/drawing/2014/main" id="{7984AA50-B638-41C4-AB20-33526D8E4B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400803" y="4079555"/>
                <a:ext cx="337158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b="1"/>
                  <a:t>1</a:t>
                </a:r>
                <a:endParaRPr lang="en-US" altLang="en-US" sz="2800" b="1"/>
              </a:p>
            </p:txBody>
          </p:sp>
          <p:sp>
            <p:nvSpPr>
              <p:cNvPr id="103" name="Textfeld 125">
                <a:extLst>
                  <a:ext uri="{FF2B5EF4-FFF2-40B4-BE49-F238E27FC236}">
                    <a16:creationId xmlns:a16="http://schemas.microsoft.com/office/drawing/2014/main" id="{6912163B-F3B8-4EDF-AFCB-44D7997FD69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9094" y="3096117"/>
                <a:ext cx="2527131" cy="6668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	</a:t>
                </a:r>
                <a:endParaRPr lang="en-US" altLang="en-US" sz="28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04" name="Rechteck 126">
                <a:extLst>
                  <a:ext uri="{FF2B5EF4-FFF2-40B4-BE49-F238E27FC236}">
                    <a16:creationId xmlns:a16="http://schemas.microsoft.com/office/drawing/2014/main" id="{9EBBA5E3-FA27-4E48-A380-109B5905D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10" y="340508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5" name="Rechteck 127">
                <a:extLst>
                  <a:ext uri="{FF2B5EF4-FFF2-40B4-BE49-F238E27FC236}">
                    <a16:creationId xmlns:a16="http://schemas.microsoft.com/office/drawing/2014/main" id="{E77D89B9-BBA0-4865-9124-85E9FFEB7C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80" y="3736857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6" name="Rechteck 128">
                <a:extLst>
                  <a:ext uri="{FF2B5EF4-FFF2-40B4-BE49-F238E27FC236}">
                    <a16:creationId xmlns:a16="http://schemas.microsoft.com/office/drawing/2014/main" id="{E956C0DC-06A9-44DA-AA59-859AA90F5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083573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</a:t>
                </a:r>
                <a:r>
                  <a:rPr lang="de-DE" altLang="en-US" sz="2800" dirty="0"/>
                  <a:t>     </a:t>
                </a:r>
                <a:r>
                  <a:rPr lang="de-DE" altLang="en-US" sz="2800" dirty="0">
                    <a:solidFill>
                      <a:srgbClr val="FF0000"/>
                    </a:solidFill>
                  </a:rPr>
                  <a:t>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7" name="Rechteck 129">
                <a:extLst>
                  <a:ext uri="{FF2B5EF4-FFF2-40B4-BE49-F238E27FC236}">
                    <a16:creationId xmlns:a16="http://schemas.microsoft.com/office/drawing/2014/main" id="{C76052F5-D475-4B1B-BE9D-E2088523D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38" y="441133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8" name="Rechteck 130">
                <a:extLst>
                  <a:ext uri="{FF2B5EF4-FFF2-40B4-BE49-F238E27FC236}">
                    <a16:creationId xmlns:a16="http://schemas.microsoft.com/office/drawing/2014/main" id="{282B7460-DAFE-4EE6-BE7E-DE9DAE772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4309" y="4728680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  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  <p:sp>
            <p:nvSpPr>
              <p:cNvPr id="109" name="Rechteck 131">
                <a:extLst>
                  <a:ext uri="{FF2B5EF4-FFF2-40B4-BE49-F238E27FC236}">
                    <a16:creationId xmlns:a16="http://schemas.microsoft.com/office/drawing/2014/main" id="{2B61A3A5-1325-4E53-A2BD-3BB3A5677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0979" y="5062051"/>
                <a:ext cx="2954655" cy="379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 baseline="-250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r>
                  <a:rPr lang="de-DE" altLang="en-US" sz="2800" dirty="0">
                    <a:solidFill>
                      <a:srgbClr val="FF0000"/>
                    </a:solidFill>
                  </a:rPr>
                  <a:t>0    0    0    0   0    0    0</a:t>
                </a:r>
                <a:r>
                  <a:rPr lang="de-DE" altLang="en-US" sz="2800" dirty="0"/>
                  <a:t>	</a:t>
                </a:r>
                <a:endParaRPr lang="en-US" altLang="en-US" sz="2800" dirty="0"/>
              </a:p>
            </p:txBody>
          </p:sp>
        </p:grpSp>
        <p:sp>
          <p:nvSpPr>
            <p:cNvPr id="97" name="Rechteck 119">
              <a:extLst>
                <a:ext uri="{FF2B5EF4-FFF2-40B4-BE49-F238E27FC236}">
                  <a16:creationId xmlns:a16="http://schemas.microsoft.com/office/drawing/2014/main" id="{A331588C-EE1F-4365-9C7E-04411A5DD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99257" y="4579568"/>
              <a:ext cx="2379981" cy="2323572"/>
            </a:xfrm>
            <a:prstGeom prst="rect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defTabSz="1008063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n"/>
                <a:defRPr sz="2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008063">
                <a:spcBef>
                  <a:spcPct val="20000"/>
                </a:spcBef>
                <a:buClr>
                  <a:srgbClr val="000080"/>
                </a:buClr>
                <a:buFont typeface="Arial" panose="020B0604020202020204" pitchFamily="34" charset="0"/>
                <a:buChar char="●"/>
                <a:defRPr sz="1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008063">
                <a:spcBef>
                  <a:spcPct val="20000"/>
                </a:spcBef>
                <a:buClr>
                  <a:srgbClr val="000080"/>
                </a:buClr>
                <a:buFont typeface="Wingdings" panose="05000000000000000000" pitchFamily="2" charset="2"/>
                <a:buChar char="§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008063">
                <a:spcBef>
                  <a:spcPct val="20000"/>
                </a:spcBef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0080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80"/>
                </a:buClr>
                <a:buFont typeface="Lucida Sans Unicode" panose="020B0602030504020204" pitchFamily="34" charset="0"/>
                <a:buChar char="∙"/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2600">
                <a:latin typeface="Times New Roman" panose="02020603050405020304" pitchFamily="18" charset="0"/>
              </a:endParaRPr>
            </a:p>
          </p:txBody>
        </p:sp>
      </p:grpSp>
      <p:sp>
        <p:nvSpPr>
          <p:cNvPr id="126" name="Textfeld 121">
            <a:extLst>
              <a:ext uri="{FF2B5EF4-FFF2-40B4-BE49-F238E27FC236}">
                <a16:creationId xmlns:a16="http://schemas.microsoft.com/office/drawing/2014/main" id="{5D8EA9A5-3314-4F03-8D76-457305AAEC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7748" y="1207926"/>
            <a:ext cx="1583981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o object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058017C-A907-4D7A-A97F-0CF1E1103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7161" y="1832433"/>
            <a:ext cx="2368167" cy="1949135"/>
          </a:xfrm>
          <a:prstGeom prst="rect">
            <a:avLst/>
          </a:prstGeom>
        </p:spPr>
      </p:pic>
      <p:sp>
        <p:nvSpPr>
          <p:cNvPr id="131" name="Textfeld 121">
            <a:extLst>
              <a:ext uri="{FF2B5EF4-FFF2-40B4-BE49-F238E27FC236}">
                <a16:creationId xmlns:a16="http://schemas.microsoft.com/office/drawing/2014/main" id="{38152815-A9EA-4F99-BE44-E61930D90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0268" y="601523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center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Textfeld 121">
            <a:extLst>
              <a:ext uri="{FF2B5EF4-FFF2-40B4-BE49-F238E27FC236}">
                <a16:creationId xmlns:a16="http://schemas.microsoft.com/office/drawing/2014/main" id="{7FF0D464-B4D4-41AF-A174-B335312018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25876" y="839486"/>
            <a:ext cx="294506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ounding box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size</a:t>
            </a:r>
            <a:r>
              <a:rPr lang="de-DE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endParaRPr lang="en-US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/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2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2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2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𝑤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2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ad>
                                            <m:radPr>
                                              <m:degHide m:val="on"/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radPr>
                                            <m:deg/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sub>
                                              </m:sSub>
                                            </m:e>
                                          </m:rad>
                                        </m:e>
                                        <m:sub>
                                          <m: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  <m:r>
                                        <a:rPr lang="de-DE" sz="12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ad>
                                        <m:radPr>
                                          <m:degHide m:val="on"/>
                                          <m:ctrlPr>
                                            <a:rPr lang="de-DE" sz="12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sSub>
                                            <m:sSubPr>
                                              <m:ctrlP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acc>
                                                <m:accPr>
                                                  <m:chr m:val="̂"/>
                                                  <m:ctrlP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accPr>
                                                <m:e>
                                                  <m:r>
                                                    <a:rPr lang="de-DE" sz="1200" b="0" i="1" baseline="0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h</m:t>
                                                  </m:r>
                                                </m:e>
                                              </m:acc>
                                            </m:e>
                                            <m:sub>
                                              <m:r>
                                                <a:rPr lang="de-DE" sz="1200" b="0" i="1" baseline="0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rad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200" baseline="0" dirty="0"/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56B7679D-A55F-40C7-8B5D-661F2AC08E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57779" y="4675157"/>
                <a:ext cx="3403752" cy="54034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/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𝑜𝑟𝑑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acc>
                                            <m:accPr>
                                              <m:chr m:val="̂"/>
                                              <m:ctrlP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a:rPr lang="de-DE" sz="1400" b="0" i="1" baseline="0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𝑦</m:t>
                                              </m:r>
                                            </m:e>
                                          </m:acc>
                                        </m:e>
                                        <m:sub>
                                          <m:r>
                                            <a:rPr lang="de-DE" sz="1400" b="0" i="1" baseline="0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</m:oMathPara>
                </a14:m>
                <a:endParaRPr lang="de-DE" sz="1400" baseline="0" dirty="0"/>
              </a:p>
            </p:txBody>
          </p:sp>
        </mc:Choice>
        <mc:Fallback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35FB9C58-22FF-47F3-B6B3-5A7B3DB2F2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51625" y="4630144"/>
                <a:ext cx="3182346" cy="6303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/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𝑜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0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>
          <p:sp>
            <p:nvSpPr>
              <p:cNvPr id="136" name="Textfeld 135">
                <a:extLst>
                  <a:ext uri="{FF2B5EF4-FFF2-40B4-BE49-F238E27FC236}">
                    <a16:creationId xmlns:a16="http://schemas.microsoft.com/office/drawing/2014/main" id="{6ADC6B80-4B91-4375-B47B-6B2F458B13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2570" y="4642869"/>
                <a:ext cx="2203617" cy="6303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/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baseline="0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−1)²</m:t>
                          </m:r>
                        </m:sup>
                        <m:e>
                          <m:sSub>
                            <m:sSub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</m:e>
                            <m:sub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400" b="0" i="1" baseline="30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𝑏𝑗</m:t>
                          </m:r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400" b="0" i="1" baseline="0" smtClean="0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>
                                <m:sSubPr>
                                  <m:ctrlP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de-DE" sz="1400" b="0" i="1" baseline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de-DE" sz="1400" b="0" i="1" baseline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de-DE" sz="1400" b="0" i="1" baseline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sz="1400" baseline="0" dirty="0"/>
              </a:p>
            </p:txBody>
          </p:sp>
        </mc:Choice>
        <mc:Fallback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6F78C658-22FD-40DC-ADD4-536CB36A73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771" y="4662782"/>
                <a:ext cx="1908664" cy="630365"/>
              </a:xfrm>
              <a:prstGeom prst="rect">
                <a:avLst/>
              </a:prstGeom>
              <a:blipFill>
                <a:blip r:embed="rId6"/>
                <a:stretch>
                  <a:fillRect b="-97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6476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3CA8EE-867F-445D-A98A-66FD6088C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 Result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6AD015-FCE6-4B7B-890F-DE8D269B2E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876CCF9-2CBA-4E8E-9D9D-EDBA6EEFDCA7}"/>
              </a:ext>
            </a:extLst>
          </p:cNvPr>
          <p:cNvSpPr txBox="1">
            <a:spLocks/>
          </p:cNvSpPr>
          <p:nvPr/>
        </p:nvSpPr>
        <p:spPr bwMode="auto">
          <a:xfrm>
            <a:off x="2400996" y="3381898"/>
            <a:ext cx="2448272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endParaRPr lang="de-DE" kern="0" baseline="0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DC01FD4-985C-4A69-8F08-FB6CC1075954}"/>
              </a:ext>
            </a:extLst>
          </p:cNvPr>
          <p:cNvSpPr txBox="1">
            <a:spLocks/>
          </p:cNvSpPr>
          <p:nvPr/>
        </p:nvSpPr>
        <p:spPr bwMode="auto">
          <a:xfrm>
            <a:off x="333994" y="3319542"/>
            <a:ext cx="2859089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Detection </a:t>
            </a:r>
            <a:r>
              <a:rPr lang="de-DE" sz="1600" kern="0" baseline="0" dirty="0" err="1"/>
              <a:t>input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pipelin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Label </a:t>
            </a:r>
            <a:r>
              <a:rPr lang="de-DE" sz="1600" kern="0" baseline="0" dirty="0" err="1"/>
              <a:t>conversion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Custom </a:t>
            </a:r>
            <a:r>
              <a:rPr lang="de-DE" sz="1600" kern="0" baseline="0" dirty="0" err="1"/>
              <a:t>loss</a:t>
            </a:r>
            <a:r>
              <a:rPr lang="de-DE" sz="1600" kern="0" baseline="0" dirty="0"/>
              <a:t>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Visualization</a:t>
            </a:r>
          </a:p>
          <a:p>
            <a:pPr marL="0" indent="0"/>
            <a:endParaRPr lang="de-DE" sz="1600" kern="0" baseline="0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24AC7D5-B2C2-4342-A0FC-4EB5BB6EDF43}"/>
              </a:ext>
            </a:extLst>
          </p:cNvPr>
          <p:cNvSpPr txBox="1">
            <a:spLocks/>
          </p:cNvSpPr>
          <p:nvPr/>
        </p:nvSpPr>
        <p:spPr bwMode="auto">
          <a:xfrm>
            <a:off x="8759684" y="3348583"/>
            <a:ext cx="3672408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Data augmentation 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/>
              <a:t>color jittering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en-US" sz="1400" kern="0" baseline="0" dirty="0"/>
              <a:t>horizontal &amp; vertical fl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Drop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 baseline="0" dirty="0"/>
              <a:t>Using a smaller model with less channels per layer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A5CB139-6222-4FBD-9589-820603FEC925}"/>
              </a:ext>
            </a:extLst>
          </p:cNvPr>
          <p:cNvSpPr/>
          <p:nvPr/>
        </p:nvSpPr>
        <p:spPr bwMode="auto">
          <a:xfrm>
            <a:off x="2494988" y="1943151"/>
            <a:ext cx="2016224" cy="113925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de-DE" sz="1800" kern="0" baseline="0" dirty="0" err="1"/>
              <a:t>Overfit</a:t>
            </a:r>
            <a:r>
              <a:rPr lang="de-DE" sz="1800" kern="0" baseline="0" dirty="0"/>
              <a:t> on </a:t>
            </a:r>
            <a:r>
              <a:rPr lang="de-DE" sz="1800" kern="0" baseline="0" dirty="0" err="1"/>
              <a:t>few</a:t>
            </a:r>
            <a:r>
              <a:rPr lang="de-DE" sz="1800" kern="0" baseline="0" dirty="0"/>
              <a:t> </a:t>
            </a:r>
            <a:r>
              <a:rPr lang="de-DE" sz="1800" kern="0" baseline="0" dirty="0" err="1"/>
              <a:t>training</a:t>
            </a:r>
            <a:r>
              <a:rPr lang="de-DE" sz="1800" kern="0" baseline="0" dirty="0"/>
              <a:t> </a:t>
            </a:r>
            <a:r>
              <a:rPr lang="de-DE" sz="1800" kern="0" baseline="0" dirty="0" err="1"/>
              <a:t>samples</a:t>
            </a:r>
            <a:endParaRPr lang="de-DE" sz="1800" kern="0" baseline="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DC25678-A389-4C5C-8096-F889C5D4417C}"/>
              </a:ext>
            </a:extLst>
          </p:cNvPr>
          <p:cNvSpPr/>
          <p:nvPr/>
        </p:nvSpPr>
        <p:spPr bwMode="auto">
          <a:xfrm>
            <a:off x="6671452" y="1943151"/>
            <a:ext cx="2016224" cy="113925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/>
              <a:t>Overfit on complete training set</a:t>
            </a:r>
            <a:endParaRPr lang="en-US" sz="1800" kern="0" baseline="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FB7E7BB-E54E-49AE-92ED-206F957951B2}"/>
              </a:ext>
            </a:extLst>
          </p:cNvPr>
          <p:cNvSpPr/>
          <p:nvPr/>
        </p:nvSpPr>
        <p:spPr bwMode="auto">
          <a:xfrm>
            <a:off x="10804648" y="1943151"/>
            <a:ext cx="2016224" cy="113925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/>
            <a:r>
              <a:rPr lang="en-US" sz="1800" kern="0" baseline="0" dirty="0"/>
              <a:t>Detector also works on test set</a:t>
            </a:r>
          </a:p>
        </p:txBody>
      </p:sp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37149861-496C-40DF-BE9F-187595C7E133}"/>
              </a:ext>
            </a:extLst>
          </p:cNvPr>
          <p:cNvSpPr/>
          <p:nvPr/>
        </p:nvSpPr>
        <p:spPr bwMode="auto">
          <a:xfrm>
            <a:off x="766797" y="2133391"/>
            <a:ext cx="1152127" cy="758773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2903D0C-DCAC-49A7-AAF3-7CCF6CC6F024}"/>
              </a:ext>
            </a:extLst>
          </p:cNvPr>
          <p:cNvSpPr/>
          <p:nvPr/>
        </p:nvSpPr>
        <p:spPr bwMode="auto">
          <a:xfrm>
            <a:off x="5087276" y="2133391"/>
            <a:ext cx="1152127" cy="758773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8312251-BDF1-44E6-86DD-573D4B51FDBA}"/>
              </a:ext>
            </a:extLst>
          </p:cNvPr>
          <p:cNvSpPr/>
          <p:nvPr/>
        </p:nvSpPr>
        <p:spPr bwMode="auto">
          <a:xfrm>
            <a:off x="9170098" y="2133390"/>
            <a:ext cx="1152127" cy="758773"/>
          </a:xfrm>
          <a:prstGeom prst="rightArrow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A516C4E9-DAB8-402F-BAD1-8B1E067C939F}"/>
              </a:ext>
            </a:extLst>
          </p:cNvPr>
          <p:cNvSpPr txBox="1">
            <a:spLocks/>
          </p:cNvSpPr>
          <p:nvPr/>
        </p:nvSpPr>
        <p:spPr bwMode="auto">
          <a:xfrm>
            <a:off x="4451593" y="3319542"/>
            <a:ext cx="3061970" cy="144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>
            <a:lvl1pPr marL="342900" indent="-342900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Optimize </a:t>
            </a:r>
            <a:r>
              <a:rPr lang="de-DE" sz="1600" kern="0" baseline="0" dirty="0" err="1"/>
              <a:t>the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input</a:t>
            </a:r>
            <a:r>
              <a:rPr lang="de-DE" sz="1600" kern="0" baseline="0" dirty="0"/>
              <a:t> </a:t>
            </a:r>
            <a:r>
              <a:rPr lang="de-DE" sz="1600" kern="0" baseline="0" dirty="0" err="1"/>
              <a:t>pipeline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Transfer </a:t>
            </a:r>
            <a:r>
              <a:rPr lang="de-DE" sz="1600" kern="0" baseline="0" dirty="0" err="1"/>
              <a:t>learning</a:t>
            </a:r>
            <a:endParaRPr lang="de-DE" sz="1600" kern="0" baseline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kern="0" baseline="0" dirty="0"/>
              <a:t>Metric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/>
              <a:t>IOU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/>
              <a:t>TP-rate / TN-rate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r>
              <a:rPr lang="de-DE" sz="1400" kern="0" baseline="0" dirty="0" err="1"/>
              <a:t>Seperate</a:t>
            </a:r>
            <a:r>
              <a:rPr lang="de-DE" sz="1400" kern="0" baseline="0" dirty="0"/>
              <a:t> Loss functions</a:t>
            </a:r>
          </a:p>
          <a:p>
            <a:pPr marL="390525" lvl="1" indent="-285750">
              <a:buFont typeface="Arial" panose="020B0604020202020204" pitchFamily="34" charset="0"/>
              <a:buChar char="•"/>
            </a:pPr>
            <a:endParaRPr lang="de-DE" sz="1200" kern="0" baseline="0" dirty="0"/>
          </a:p>
          <a:p>
            <a:pPr>
              <a:buFont typeface="Arial" panose="020B0604020202020204" pitchFamily="34" charset="0"/>
              <a:buChar char="•"/>
            </a:pPr>
            <a:endParaRPr lang="de-DE" sz="1600" kern="0" baseline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FCBB712-A713-4CDA-82E9-22FB49424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580206" y="2551797"/>
            <a:ext cx="1260352" cy="1260352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960C3932-CC47-496D-BD03-5A91A46254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846443" y="2551797"/>
            <a:ext cx="1260352" cy="1260352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085BE5E-A579-4709-8D82-7550ECB78E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2338099" y="2978787"/>
            <a:ext cx="729836" cy="729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3998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BECE36-CA41-4528-B63E-48DF59C7DDA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81014" y="755650"/>
            <a:ext cx="5016326" cy="576709"/>
          </a:xfrm>
        </p:spPr>
        <p:txBody>
          <a:bodyPr/>
          <a:lstStyle/>
          <a:p>
            <a:r>
              <a:rPr lang="de-DE" altLang="de-DE" dirty="0"/>
              <a:t>Overfitting on Training Data</a:t>
            </a:r>
          </a:p>
        </p:txBody>
      </p:sp>
      <p:pic>
        <p:nvPicPr>
          <p:cNvPr id="12" name="vlc-record-2022-02-03-16h58m09s-20220124-0735_stuttgartteam8_protect_gbr_2wr9aft8_test.mp4-">
            <a:hlinkClick r:id="" action="ppaction://media"/>
            <a:extLst>
              <a:ext uri="{FF2B5EF4-FFF2-40B4-BE49-F238E27FC236}">
                <a16:creationId xmlns:a16="http://schemas.microsoft.com/office/drawing/2014/main" id="{633F9B8E-4459-4F5F-B800-FD95510DE9A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0755" y="755650"/>
            <a:ext cx="8136904" cy="6102679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2424D9C7-3BB4-43A3-AB43-C9E4BE9611E2}"/>
              </a:ext>
            </a:extLst>
          </p:cNvPr>
          <p:cNvSpPr/>
          <p:nvPr/>
        </p:nvSpPr>
        <p:spPr bwMode="auto">
          <a:xfrm>
            <a:off x="8737698" y="2052439"/>
            <a:ext cx="644585" cy="338956"/>
          </a:xfrm>
          <a:prstGeom prst="rect">
            <a:avLst/>
          </a:prstGeom>
          <a:noFill/>
          <a:ln w="254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2F5FD1C-37F5-4092-83F1-502E94610103}"/>
              </a:ext>
            </a:extLst>
          </p:cNvPr>
          <p:cNvSpPr/>
          <p:nvPr/>
        </p:nvSpPr>
        <p:spPr bwMode="auto">
          <a:xfrm>
            <a:off x="8737699" y="2556495"/>
            <a:ext cx="644585" cy="338956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7C27894-2423-4607-AA18-E4AD89FC9D3F}"/>
              </a:ext>
            </a:extLst>
          </p:cNvPr>
          <p:cNvSpPr txBox="1"/>
          <p:nvPr/>
        </p:nvSpPr>
        <p:spPr>
          <a:xfrm>
            <a:off x="9526145" y="2037251"/>
            <a:ext cx="1944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aseline="0" dirty="0">
                <a:latin typeface="Segoe UI" panose="020B0502040204020203" pitchFamily="34" charset="0"/>
                <a:cs typeface="Segoe UI" panose="020B0502040204020203" pitchFamily="34" charset="0"/>
              </a:rPr>
              <a:t>Ground Truth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EE14A2B-B18C-43E8-B8AD-6A8E5695EF28}"/>
              </a:ext>
            </a:extLst>
          </p:cNvPr>
          <p:cNvSpPr txBox="1"/>
          <p:nvPr/>
        </p:nvSpPr>
        <p:spPr>
          <a:xfrm>
            <a:off x="9526145" y="2452749"/>
            <a:ext cx="42972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aseline="0" dirty="0">
                <a:latin typeface="Segoe UI" panose="020B0502040204020203" pitchFamily="34" charset="0"/>
                <a:cs typeface="Segoe UI" panose="020B0502040204020203" pitchFamily="34" charset="0"/>
              </a:rPr>
              <a:t>Estimate </a:t>
            </a:r>
          </a:p>
          <a:p>
            <a:pPr algn="l"/>
            <a:r>
              <a:rPr lang="de-DE" sz="1400" baseline="0" dirty="0" err="1">
                <a:latin typeface="Segoe UI" panose="020B0502040204020203" pitchFamily="34" charset="0"/>
                <a:cs typeface="Segoe UI" panose="020B0502040204020203" pitchFamily="34" charset="0"/>
              </a:rPr>
              <a:t>white</a:t>
            </a:r>
            <a:r>
              <a:rPr lang="de-DE" sz="1400" baseline="0" dirty="0">
                <a:latin typeface="Segoe UI" panose="020B0502040204020203" pitchFamily="34" charset="0"/>
                <a:cs typeface="Segoe UI" panose="020B0502040204020203" pitchFamily="34" charset="0"/>
              </a:rPr>
              <a:t>: objectness = 1, </a:t>
            </a:r>
            <a:r>
              <a:rPr lang="de-DE" sz="1400" baseline="0" dirty="0" err="1">
                <a:latin typeface="Segoe UI" panose="020B0502040204020203" pitchFamily="34" charset="0"/>
                <a:cs typeface="Segoe UI" panose="020B0502040204020203" pitchFamily="34" charset="0"/>
              </a:rPr>
              <a:t>black</a:t>
            </a:r>
            <a:r>
              <a:rPr lang="de-DE" sz="1400" baseline="0" dirty="0">
                <a:latin typeface="Segoe UI" panose="020B0502040204020203" pitchFamily="34" charset="0"/>
                <a:cs typeface="Segoe UI" panose="020B0502040204020203" pitchFamily="34" charset="0"/>
              </a:rPr>
              <a:t>: objectness = 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>
            <a:extLst>
              <a:ext uri="{FF2B5EF4-FFF2-40B4-BE49-F238E27FC236}">
                <a16:creationId xmlns:a16="http://schemas.microsoft.com/office/drawing/2014/main" id="{4BAC98C9-9704-4B21-9818-B2885131207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4 Results</a:t>
            </a:r>
          </a:p>
        </p:txBody>
      </p:sp>
      <p:sp>
        <p:nvSpPr>
          <p:cNvPr id="14340" name="Fußzeilenplatzhalter 3">
            <a:extLst>
              <a:ext uri="{FF2B5EF4-FFF2-40B4-BE49-F238E27FC236}">
                <a16:creationId xmlns:a16="http://schemas.microsoft.com/office/drawing/2014/main" id="{2B626C33-81E4-41B3-BF8C-8A1B46B15C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sz="1100" baseline="0">
                <a:latin typeface="Arial" panose="020B0604020202020204" pitchFamily="34" charset="0"/>
              </a:rPr>
              <a:t>Nick Wagner  |  David Unger - 08.01.2022</a:t>
            </a:r>
          </a:p>
        </p:txBody>
      </p:sp>
      <p:pic>
        <p:nvPicPr>
          <p:cNvPr id="14341" name="Grafik 4">
            <a:extLst>
              <a:ext uri="{FF2B5EF4-FFF2-40B4-BE49-F238E27FC236}">
                <a16:creationId xmlns:a16="http://schemas.microsoft.com/office/drawing/2014/main" id="{C0230B74-2B29-4722-935E-350021E1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1231485"/>
            <a:ext cx="333556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Grafik 2">
            <a:extLst>
              <a:ext uri="{FF2B5EF4-FFF2-40B4-BE49-F238E27FC236}">
                <a16:creationId xmlns:a16="http://schemas.microsoft.com/office/drawing/2014/main" id="{D70466EC-8199-4EEE-ADD3-25AAC5B01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59" y="1228343"/>
            <a:ext cx="3084632" cy="266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Textfeld 5">
            <a:extLst>
              <a:ext uri="{FF2B5EF4-FFF2-40B4-BE49-F238E27FC236}">
                <a16:creationId xmlns:a16="http://schemas.microsoft.com/office/drawing/2014/main" id="{C18B8080-164F-48B0-8DD1-237D204C20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0995" y="732969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Good example</a:t>
            </a:r>
          </a:p>
        </p:txBody>
      </p:sp>
      <p:pic>
        <p:nvPicPr>
          <p:cNvPr id="14345" name="Grafik 8">
            <a:extLst>
              <a:ext uri="{FF2B5EF4-FFF2-40B4-BE49-F238E27FC236}">
                <a16:creationId xmlns:a16="http://schemas.microsoft.com/office/drawing/2014/main" id="{D9B38EC1-2363-4DF6-81F8-247D42D6F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882" y="4089531"/>
            <a:ext cx="333556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Grafik 10">
            <a:extLst>
              <a:ext uri="{FF2B5EF4-FFF2-40B4-BE49-F238E27FC236}">
                <a16:creationId xmlns:a16="http://schemas.microsoft.com/office/drawing/2014/main" id="{60CF3FDE-E274-4389-B2DE-A1B5B66819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39"/>
          <a:stretch/>
        </p:blipFill>
        <p:spPr bwMode="auto">
          <a:xfrm>
            <a:off x="5179159" y="4083246"/>
            <a:ext cx="3084632" cy="2836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5">
            <a:extLst>
              <a:ext uri="{FF2B5EF4-FFF2-40B4-BE49-F238E27FC236}">
                <a16:creationId xmlns:a16="http://schemas.microsoft.com/office/drawing/2014/main" id="{378237C4-13C2-4E9B-891A-37E926362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7959" y="690622"/>
            <a:ext cx="30241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Average example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6F292C84-4943-413B-9D17-8D0158FCA5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2028159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1280x720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  <p:sp>
        <p:nvSpPr>
          <p:cNvPr id="13" name="Textfeld 5">
            <a:extLst>
              <a:ext uri="{FF2B5EF4-FFF2-40B4-BE49-F238E27FC236}">
                <a16:creationId xmlns:a16="http://schemas.microsoft.com/office/drawing/2014/main" id="{C89AC3E0-0879-444B-89EE-BE60EB4E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2515" y="5076775"/>
            <a:ext cx="3024188" cy="62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de-DE" altLang="de-DE" dirty="0"/>
              <a:t>Original </a:t>
            </a:r>
            <a:r>
              <a:rPr lang="de-DE" altLang="de-DE" dirty="0" err="1"/>
              <a:t>resolution</a:t>
            </a:r>
            <a:endParaRPr lang="de-DE" altLang="de-DE" dirty="0"/>
          </a:p>
          <a:p>
            <a:r>
              <a:rPr lang="de-DE" altLang="de-DE" dirty="0" err="1"/>
              <a:t>Cropped</a:t>
            </a:r>
            <a:r>
              <a:rPr lang="de-DE" altLang="de-DE" dirty="0"/>
              <a:t> from 448x448 </a:t>
            </a:r>
            <a:r>
              <a:rPr lang="de-DE" altLang="de-DE" dirty="0" err="1"/>
              <a:t>im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793596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236282-7C01-4D41-B5F8-77E0F0CB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 – YOLO </a:t>
            </a:r>
            <a:r>
              <a:rPr lang="de-DE" dirty="0" err="1"/>
              <a:t>loss</a:t>
            </a:r>
            <a:r>
              <a:rPr lang="de-DE" dirty="0"/>
              <a:t> func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ACF08F-8D56-4211-A590-E1DE3EA02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ick Wagner  |  David Unger - 08.01.2022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2A1AD679-9113-48D8-BE52-6C9C790F7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3" y="1189038"/>
            <a:ext cx="6724650" cy="504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25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Präsentation 3">
  <a:themeElements>
    <a:clrScheme name="Präsentation 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äsentation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räsentation 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72</Words>
  <Application>Microsoft Office PowerPoint</Application>
  <PresentationFormat>Benutzerdefiniert</PresentationFormat>
  <Paragraphs>243</Paragraphs>
  <Slides>11</Slides>
  <Notes>2</Notes>
  <HiddenSlides>1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Arial</vt:lpstr>
      <vt:lpstr>Calibri</vt:lpstr>
      <vt:lpstr>Cambria Math</vt:lpstr>
      <vt:lpstr>Lucida Sans Unicode</vt:lpstr>
      <vt:lpstr>Segoe UI</vt:lpstr>
      <vt:lpstr>Times New Roman</vt:lpstr>
      <vt:lpstr>Wingdings</vt:lpstr>
      <vt:lpstr>Präsentation 3</vt:lpstr>
      <vt:lpstr>Great Barrier Reef Invasive Starfish Detector</vt:lpstr>
      <vt:lpstr>1 Problem Statement</vt:lpstr>
      <vt:lpstr>1 Problem Statement</vt:lpstr>
      <vt:lpstr>2 Our YOLO Architecture</vt:lpstr>
      <vt:lpstr>3 Loss Function</vt:lpstr>
      <vt:lpstr>4 Results</vt:lpstr>
      <vt:lpstr>4 Results</vt:lpstr>
      <vt:lpstr>4 Results</vt:lpstr>
      <vt:lpstr>Backup – YOLO loss function</vt:lpstr>
      <vt:lpstr>Backup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ITG</dc:title>
  <dc:creator/>
  <cp:lastModifiedBy/>
  <cp:revision>106</cp:revision>
  <dcterms:created xsi:type="dcterms:W3CDTF">2005-01-10T10:03:50Z</dcterms:created>
  <dcterms:modified xsi:type="dcterms:W3CDTF">2022-02-04T08:53:13Z</dcterms:modified>
</cp:coreProperties>
</file>